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43"/>
  </p:notesMasterIdLst>
  <p:handoutMasterIdLst>
    <p:handoutMasterId r:id="rId44"/>
  </p:handoutMasterIdLst>
  <p:sldIdLst>
    <p:sldId id="303" r:id="rId2"/>
    <p:sldId id="2147378832" r:id="rId3"/>
    <p:sldId id="2147378833" r:id="rId4"/>
    <p:sldId id="2147378834" r:id="rId5"/>
    <p:sldId id="307" r:id="rId6"/>
    <p:sldId id="2147378869" r:id="rId7"/>
    <p:sldId id="402" r:id="rId8"/>
    <p:sldId id="2147378896" r:id="rId9"/>
    <p:sldId id="2147378895" r:id="rId10"/>
    <p:sldId id="1126" r:id="rId11"/>
    <p:sldId id="2147378881" r:id="rId12"/>
    <p:sldId id="2147378873" r:id="rId13"/>
    <p:sldId id="2147378898" r:id="rId14"/>
    <p:sldId id="2147378864" r:id="rId15"/>
    <p:sldId id="2147378866" r:id="rId16"/>
    <p:sldId id="2147378877" r:id="rId17"/>
    <p:sldId id="2147378879" r:id="rId18"/>
    <p:sldId id="1120" r:id="rId19"/>
    <p:sldId id="2147378876" r:id="rId20"/>
    <p:sldId id="2147378891" r:id="rId21"/>
    <p:sldId id="2147378880" r:id="rId22"/>
    <p:sldId id="2147378888" r:id="rId23"/>
    <p:sldId id="2147378865" r:id="rId24"/>
    <p:sldId id="2147378830" r:id="rId25"/>
    <p:sldId id="2147378861" r:id="rId26"/>
    <p:sldId id="1208" r:id="rId27"/>
    <p:sldId id="2147378899" r:id="rId28"/>
    <p:sldId id="451" r:id="rId29"/>
    <p:sldId id="514" r:id="rId30"/>
    <p:sldId id="2147378852" r:id="rId31"/>
    <p:sldId id="2147378857" r:id="rId32"/>
    <p:sldId id="269" r:id="rId33"/>
    <p:sldId id="2147378901" r:id="rId34"/>
    <p:sldId id="2147378894" r:id="rId35"/>
    <p:sldId id="2147378882" r:id="rId36"/>
    <p:sldId id="2147378884" r:id="rId37"/>
    <p:sldId id="318" r:id="rId38"/>
    <p:sldId id="319" r:id="rId39"/>
    <p:sldId id="2147378892" r:id="rId40"/>
    <p:sldId id="312" r:id="rId41"/>
    <p:sldId id="315" r:id="rId42"/>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5" userDrawn="1">
          <p15:clr>
            <a:srgbClr val="A4A3A4"/>
          </p15:clr>
        </p15:guide>
        <p15:guide id="2" orient="horz" pos="2854">
          <p15:clr>
            <a:srgbClr val="A4A3A4"/>
          </p15:clr>
        </p15:guide>
        <p15:guide id="3" orient="horz" pos="429">
          <p15:clr>
            <a:srgbClr val="A4A3A4"/>
          </p15:clr>
        </p15:guide>
        <p15:guide id="4" pos="2880">
          <p15:clr>
            <a:srgbClr val="A4A3A4"/>
          </p15:clr>
        </p15:guide>
        <p15:guide id="5" pos="158" userDrawn="1">
          <p15:clr>
            <a:srgbClr val="A4A3A4"/>
          </p15:clr>
        </p15:guide>
        <p15:guide id="6" pos="546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067A82-06E2-4100-D334-A00DAC6892B1}" name="Drongelen, Alwin van" initials="DAv" userId="S::alwin.van.drongelen@nlr.nl::78736ee6-a737-4a5e-9097-23a22f7f949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791A"/>
    <a:srgbClr val="1183B1"/>
    <a:srgbClr val="19AEE9"/>
    <a:srgbClr val="D8EC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91453" autoAdjust="0"/>
  </p:normalViewPr>
  <p:slideViewPr>
    <p:cSldViewPr snapToGrid="0" showGuides="1">
      <p:cViewPr>
        <p:scale>
          <a:sx n="100" d="100"/>
          <a:sy n="100" d="100"/>
        </p:scale>
        <p:origin x="324" y="-60"/>
      </p:cViewPr>
      <p:guideLst>
        <p:guide orient="horz" pos="645"/>
        <p:guide orient="horz" pos="2854"/>
        <p:guide orient="horz" pos="429"/>
        <p:guide pos="2880"/>
        <p:guide pos="158"/>
        <p:guide pos="5462"/>
      </p:guideLst>
    </p:cSldViewPr>
  </p:slideViewPr>
  <p:outlineViewPr>
    <p:cViewPr>
      <p:scale>
        <a:sx n="33" d="100"/>
        <a:sy n="33" d="100"/>
      </p:scale>
      <p:origin x="0" y="789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1" d="100"/>
          <a:sy n="81" d="100"/>
        </p:scale>
        <p:origin x="3894"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446B062-DAD0-4D82-85D3-1965C1AFF8A2}" type="datetimeFigureOut">
              <a:rPr lang="nl-NL" smtClean="0"/>
              <a:t>7-11-2025</a:t>
            </a:fld>
            <a:endParaRPr lang="nl-NL"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29BBD3-3E96-4EC4-9B83-A9F1B69963DD}" type="slidenum">
              <a:rPr lang="nl-NL" smtClean="0"/>
              <a:t>‹#›</a:t>
            </a:fld>
            <a:endParaRPr lang="nl-NL" dirty="0"/>
          </a:p>
        </p:txBody>
      </p:sp>
    </p:spTree>
    <p:extLst>
      <p:ext uri="{BB962C8B-B14F-4D97-AF65-F5344CB8AC3E}">
        <p14:creationId xmlns:p14="http://schemas.microsoft.com/office/powerpoint/2010/main" val="185396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D6D024-4931-4027-A790-71B163D1AC3F}" type="datetimeFigureOut">
              <a:rPr lang="nl-NL" smtClean="0"/>
              <a:t>7-11-2025</a:t>
            </a:fld>
            <a:endParaRPr lang="nl-NL"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EDA0DF2-1824-4575-A17A-F4134FACA6EE}" type="slidenum">
              <a:rPr lang="nl-NL" smtClean="0"/>
              <a:t>‹#›</a:t>
            </a:fld>
            <a:endParaRPr lang="nl-NL" dirty="0"/>
          </a:p>
        </p:txBody>
      </p:sp>
    </p:spTree>
    <p:extLst>
      <p:ext uri="{BB962C8B-B14F-4D97-AF65-F5344CB8AC3E}">
        <p14:creationId xmlns:p14="http://schemas.microsoft.com/office/powerpoint/2010/main" val="3104181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noProof="0" dirty="0" err="1"/>
              <a:t>Aanpassing</a:t>
            </a:r>
            <a:r>
              <a:rPr lang="en-GB" noProof="0" dirty="0"/>
              <a:t> van </a:t>
            </a:r>
            <a:r>
              <a:rPr lang="en-GB" noProof="0" dirty="0" err="1"/>
              <a:t>classificatie</a:t>
            </a:r>
            <a:r>
              <a:rPr lang="en-GB" noProof="0" dirty="0"/>
              <a:t> in de footer: </a:t>
            </a:r>
            <a:r>
              <a:rPr lang="en-GB" noProof="0" dirty="0" err="1"/>
              <a:t>ga</a:t>
            </a:r>
            <a:r>
              <a:rPr lang="en-GB" noProof="0" dirty="0"/>
              <a:t> </a:t>
            </a:r>
            <a:r>
              <a:rPr lang="en-GB" noProof="0" dirty="0" err="1"/>
              <a:t>naar</a:t>
            </a:r>
            <a:r>
              <a:rPr lang="en-GB" noProof="0" dirty="0"/>
              <a:t> ‘insert’ en </a:t>
            </a:r>
            <a:r>
              <a:rPr lang="en-GB" noProof="0" dirty="0" err="1"/>
              <a:t>klik</a:t>
            </a:r>
            <a:r>
              <a:rPr lang="en-GB" noProof="0" dirty="0"/>
              <a:t> op ‘header &amp; footer’. </a:t>
            </a:r>
            <a:r>
              <a:rPr lang="en-GB" noProof="0" dirty="0" err="1"/>
              <a:t>Handhaaf</a:t>
            </a:r>
            <a:r>
              <a:rPr lang="en-GB" noProof="0" dirty="0"/>
              <a:t> </a:t>
            </a:r>
            <a:r>
              <a:rPr lang="en-GB" noProof="0" dirty="0" err="1"/>
              <a:t>verder</a:t>
            </a:r>
            <a:r>
              <a:rPr lang="en-GB" noProof="0" dirty="0"/>
              <a:t> het format.</a:t>
            </a:r>
          </a:p>
        </p:txBody>
      </p:sp>
      <p:sp>
        <p:nvSpPr>
          <p:cNvPr id="4" name="Slide Number Placeholder 3"/>
          <p:cNvSpPr>
            <a:spLocks noGrp="1"/>
          </p:cNvSpPr>
          <p:nvPr>
            <p:ph type="sldNum" sz="quarter" idx="10"/>
          </p:nvPr>
        </p:nvSpPr>
        <p:spPr/>
        <p:txBody>
          <a:bodyPr/>
          <a:lstStyle/>
          <a:p>
            <a:fld id="{0EDA0DF2-1824-4575-A17A-F4134FACA6EE}" type="slidenum">
              <a:rPr lang="en-GB" smtClean="0"/>
              <a:t>1</a:t>
            </a:fld>
            <a:endParaRPr lang="en-GB" dirty="0"/>
          </a:p>
        </p:txBody>
      </p:sp>
    </p:spTree>
    <p:extLst>
      <p:ext uri="{BB962C8B-B14F-4D97-AF65-F5344CB8AC3E}">
        <p14:creationId xmlns:p14="http://schemas.microsoft.com/office/powerpoint/2010/main" val="3736369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A1B1F"/>
                </a:solidFill>
                <a:effectLst/>
                <a:latin typeface="Arial" panose="020B0604020202020204" pitchFamily="34" charset="0"/>
              </a:rPr>
              <a:t>Adenosine is involved in storing and releasing energy throughout the body. In particular, the compound adenosine triphosphate (ATP) works as “energy currency”  – when your body needs energy to contract a muscle or transmit a brain signal, it frees energy by breaking down ATP and releasing adenosine as a byproduct. </a:t>
            </a:r>
          </a:p>
          <a:p>
            <a:pPr algn="l"/>
            <a:r>
              <a:rPr lang="en-US" b="0" i="0" dirty="0">
                <a:solidFill>
                  <a:srgbClr val="1A1B1F"/>
                </a:solidFill>
                <a:effectLst/>
                <a:latin typeface="Arial" panose="020B0604020202020204" pitchFamily="34" charset="0"/>
              </a:rPr>
              <a:t>Adenosine’s relationship to sleep is connected to its use in the brain, which consumes more ATP than any other part of the body. As activity in your brain breaks down ATP, adenosine builds up in the space between cells. Scientists hypothesize that when you stay awake for too long, the accumulating adenosine begins to limit activity in areas of your brain associated with wakefulness, allowing your sleep drive to kick in.</a:t>
            </a:r>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12</a:t>
            </a:fld>
            <a:endParaRPr lang="nl-NL" dirty="0"/>
          </a:p>
        </p:txBody>
      </p:sp>
    </p:spTree>
    <p:extLst>
      <p:ext uri="{BB962C8B-B14F-4D97-AF65-F5344CB8AC3E}">
        <p14:creationId xmlns:p14="http://schemas.microsoft.com/office/powerpoint/2010/main" val="143245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iologische klok heeft een 24 uurs ritme &gt; </a:t>
            </a:r>
            <a:r>
              <a:rPr lang="nl-NL" dirty="0" err="1"/>
              <a:t>uitgift</a:t>
            </a:r>
            <a:r>
              <a:rPr lang="nl-NL" dirty="0"/>
              <a:t> melatonine wordt geremd als de zon schijnt</a:t>
            </a:r>
          </a:p>
          <a:p>
            <a:r>
              <a:rPr lang="nl-NL" dirty="0"/>
              <a:t>Gestuurd door afwisseling (zon)licht en donker</a:t>
            </a:r>
          </a:p>
          <a:p>
            <a:r>
              <a:rPr lang="nl-NL" dirty="0"/>
              <a:t>Regelt lichamelijke processen zoals slaap, temperatuur, spijsvertering, </a:t>
            </a:r>
            <a:r>
              <a:rPr lang="nl-NL" dirty="0" err="1"/>
              <a:t>etc</a:t>
            </a:r>
            <a:endParaRPr lang="nl-NL" dirty="0"/>
          </a:p>
          <a:p>
            <a:endParaRPr lang="nl-NL" dirty="0"/>
          </a:p>
          <a:p>
            <a:r>
              <a:rPr lang="nl-NL" dirty="0"/>
              <a:t>Verstoring kan leiden tot:</a:t>
            </a:r>
          </a:p>
          <a:p>
            <a:pPr lvl="1"/>
            <a:r>
              <a:rPr lang="nl-NL" dirty="0"/>
              <a:t>Vermoeidheid</a:t>
            </a:r>
          </a:p>
          <a:p>
            <a:pPr lvl="1"/>
            <a:r>
              <a:rPr lang="nl-NL" dirty="0"/>
              <a:t>Concentratieproblemen</a:t>
            </a:r>
          </a:p>
          <a:p>
            <a:pPr lvl="1"/>
            <a:r>
              <a:rPr lang="nl-NL" dirty="0"/>
              <a:t>Stemmingswisselingen</a:t>
            </a:r>
          </a:p>
          <a:p>
            <a:pPr lvl="1"/>
            <a:r>
              <a:rPr lang="nl-NL" dirty="0"/>
              <a:t>Afname weerstand</a:t>
            </a:r>
          </a:p>
          <a:p>
            <a:pPr lvl="1"/>
            <a:r>
              <a:rPr lang="nl-NL" dirty="0"/>
              <a:t>Afname stressbestendigheid</a:t>
            </a:r>
          </a:p>
          <a:p>
            <a:endParaRPr lang="nl-NL" dirty="0"/>
          </a:p>
          <a:p>
            <a:endParaRPr lang="nl-NL" dirty="0"/>
          </a:p>
          <a:p>
            <a:r>
              <a:rPr lang="nl-NL" dirty="0"/>
              <a:t>Invloed op </a:t>
            </a:r>
          </a:p>
          <a:p>
            <a:pPr>
              <a:spcBef>
                <a:spcPct val="50000"/>
              </a:spcBef>
            </a:pPr>
            <a:r>
              <a:rPr lang="en-US" altLang="nl-NL" sz="1200" dirty="0"/>
              <a:t>Lichaamstemperatuur</a:t>
            </a:r>
          </a:p>
          <a:p>
            <a:pPr>
              <a:spcBef>
                <a:spcPct val="50000"/>
              </a:spcBef>
            </a:pPr>
            <a:r>
              <a:rPr lang="en-US" altLang="nl-NL" sz="1200" dirty="0" err="1"/>
              <a:t>Hormonen</a:t>
            </a:r>
            <a:endParaRPr lang="en-US" altLang="nl-NL" sz="1200" dirty="0"/>
          </a:p>
          <a:p>
            <a:pPr>
              <a:spcBef>
                <a:spcPct val="50000"/>
              </a:spcBef>
            </a:pPr>
            <a:r>
              <a:rPr lang="en-US" altLang="nl-NL" sz="1200" dirty="0" err="1"/>
              <a:t>slaap</a:t>
            </a:r>
            <a:endParaRPr lang="en-US" altLang="nl-NL" sz="1200" dirty="0"/>
          </a:p>
          <a:p>
            <a:pPr>
              <a:spcBef>
                <a:spcPct val="50000"/>
              </a:spcBef>
            </a:pPr>
            <a:r>
              <a:rPr lang="en-US" altLang="nl-NL" sz="1200" dirty="0" err="1"/>
              <a:t>herstelvermogen</a:t>
            </a:r>
            <a:endParaRPr lang="en-US" altLang="nl-NL" sz="1200" dirty="0"/>
          </a:p>
          <a:p>
            <a:pPr>
              <a:spcBef>
                <a:spcPct val="50000"/>
              </a:spcBef>
            </a:pPr>
            <a:r>
              <a:rPr lang="en-US" altLang="nl-NL" sz="1200" dirty="0" err="1"/>
              <a:t>energiehuishouding</a:t>
            </a:r>
            <a:endParaRPr lang="nl-NL" altLang="nl-NL" sz="1200" dirty="0"/>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13</a:t>
            </a:fld>
            <a:endParaRPr lang="nl-NL" dirty="0"/>
          </a:p>
        </p:txBody>
      </p:sp>
    </p:spTree>
    <p:extLst>
      <p:ext uri="{BB962C8B-B14F-4D97-AF65-F5344CB8AC3E}">
        <p14:creationId xmlns:p14="http://schemas.microsoft.com/office/powerpoint/2010/main" val="353625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urtes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inke 2015_The effect of chronotype on sleepiness, fatigue, and psychomotor vigilance of ICU nurses during the night shift</a:t>
            </a:r>
          </a:p>
          <a:p>
            <a:endParaRPr lang="en-GB" dirty="0"/>
          </a:p>
          <a:p>
            <a:endParaRPr lang="en-GB" dirty="0"/>
          </a:p>
          <a:p>
            <a:r>
              <a:rPr lang="en-GB" dirty="0"/>
              <a:t>Two-process model of sleep regulation20</a:t>
            </a:r>
          </a:p>
          <a:p>
            <a:r>
              <a:rPr lang="en-GB" dirty="0"/>
              <a:t>Two central processes are relevant for sleep–wake regulation: process C, a circadian process and process S, reflecting sleep pressure. Process C reflects the circadian rhythmicity of physiological functions (</a:t>
            </a:r>
            <a:r>
              <a:rPr lang="en-GB" dirty="0" err="1"/>
              <a:t>eg</a:t>
            </a:r>
            <a:r>
              <a:rPr lang="en-GB" dirty="0"/>
              <a:t>, core body temperature). Process S can be measured retrospectively by analysis of the slow wave activity in the sleep electroencephalogram. The interaction between processes C and S determines the sleep–wake cycle, its timing, and the sleep depth. The difference between S and C reflects the likelihood for falling asleep, whereas the moment that S reaches C signals a high propensity for termination of sleep (</a:t>
            </a:r>
            <a:r>
              <a:rPr lang="en-GB" dirty="0" err="1"/>
              <a:t>ie</a:t>
            </a:r>
            <a:r>
              <a:rPr lang="en-GB" dirty="0"/>
              <a:t>, awakening). If no sleep occurs, the S process does not get reduced. The red-white pattern shows the decline of sleep pressure when people sleep. The inserts show slow wave activity over the course of the night after 16 h of wakefulness (A) and after 40 h of wakefulness (B). After longer periods of wakefulness, slow wave activity is increased over the course of the night. Modified with permission from Borbély.20</a:t>
            </a:r>
          </a:p>
          <a:p>
            <a:endParaRPr lang="en-GB" dirty="0"/>
          </a:p>
        </p:txBody>
      </p:sp>
      <p:sp>
        <p:nvSpPr>
          <p:cNvPr id="4" name="Slide Number Placeholder 3"/>
          <p:cNvSpPr>
            <a:spLocks noGrp="1"/>
          </p:cNvSpPr>
          <p:nvPr>
            <p:ph type="sldNum" sz="quarter" idx="5"/>
          </p:nvPr>
        </p:nvSpPr>
        <p:spPr/>
        <p:txBody>
          <a:bodyPr/>
          <a:lstStyle/>
          <a:p>
            <a:fld id="{0EDA0DF2-1824-4575-A17A-F4134FACA6EE}" type="slidenum">
              <a:rPr lang="en-GB" smtClean="0"/>
              <a:t>14</a:t>
            </a:fld>
            <a:endParaRPr lang="en-GB" dirty="0"/>
          </a:p>
        </p:txBody>
      </p:sp>
    </p:spTree>
    <p:extLst>
      <p:ext uri="{BB962C8B-B14F-4D97-AF65-F5344CB8AC3E}">
        <p14:creationId xmlns:p14="http://schemas.microsoft.com/office/powerpoint/2010/main" val="3239519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urtes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inke 2015_The effect of chronotype on sleepiness, fatigue, and psychomotor vigilance of ICU nurses during the night shift</a:t>
            </a:r>
          </a:p>
          <a:p>
            <a:endParaRPr lang="en-GB" dirty="0"/>
          </a:p>
          <a:p>
            <a:endParaRPr lang="en-GB" dirty="0"/>
          </a:p>
          <a:p>
            <a:r>
              <a:rPr lang="en-GB" dirty="0"/>
              <a:t>Two-process model of sleep regulation20</a:t>
            </a:r>
          </a:p>
          <a:p>
            <a:r>
              <a:rPr lang="en-GB" dirty="0"/>
              <a:t>Two central processes are relevant for sleep–wake regulation: process C, a circadian process and process S, reflecting sleep pressure. Process C reflects the circadian rhythmicity of physiological functions (</a:t>
            </a:r>
            <a:r>
              <a:rPr lang="en-GB" dirty="0" err="1"/>
              <a:t>eg</a:t>
            </a:r>
            <a:r>
              <a:rPr lang="en-GB" dirty="0"/>
              <a:t>, core body temperature). Process S can be measured retrospectively by analysis of the slow wave activity in the sleep electroencephalogram. The interaction between processes C and S determines the sleep–wake cycle, its timing, and the sleep depth. The difference between S and C reflects the likelihood for falling asleep, whereas the moment that S reaches C signals a high propensity for termination of sleep (</a:t>
            </a:r>
            <a:r>
              <a:rPr lang="en-GB" dirty="0" err="1"/>
              <a:t>ie</a:t>
            </a:r>
            <a:r>
              <a:rPr lang="en-GB" dirty="0"/>
              <a:t>, awakening). If no sleep occurs, the S process does not get reduced. The red-white pattern shows the decline of sleep pressure when people sleep. The inserts show slow wave activity over the course of the night after 16 h of wakefulness (A) and after 40 h of wakefulness (B). After longer periods of wakefulness, slow wave activity is increased over the course of the night. Modified with permission from Borbély.20</a:t>
            </a:r>
          </a:p>
          <a:p>
            <a:endParaRPr lang="en-GB" dirty="0"/>
          </a:p>
        </p:txBody>
      </p:sp>
      <p:sp>
        <p:nvSpPr>
          <p:cNvPr id="4" name="Slide Number Placeholder 3"/>
          <p:cNvSpPr>
            <a:spLocks noGrp="1"/>
          </p:cNvSpPr>
          <p:nvPr>
            <p:ph type="sldNum" sz="quarter" idx="5"/>
          </p:nvPr>
        </p:nvSpPr>
        <p:spPr/>
        <p:txBody>
          <a:bodyPr/>
          <a:lstStyle/>
          <a:p>
            <a:fld id="{0EDA0DF2-1824-4575-A17A-F4134FACA6EE}" type="slidenum">
              <a:rPr lang="en-GB" smtClean="0"/>
              <a:t>15</a:t>
            </a:fld>
            <a:endParaRPr lang="en-GB" dirty="0"/>
          </a:p>
        </p:txBody>
      </p:sp>
    </p:spTree>
    <p:extLst>
      <p:ext uri="{BB962C8B-B14F-4D97-AF65-F5344CB8AC3E}">
        <p14:creationId xmlns:p14="http://schemas.microsoft.com/office/powerpoint/2010/main" val="2020441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eaLnBrk="1" hangingPunct="1"/>
            <a:r>
              <a:rPr lang="nl-NL" altLang="nl-NL" dirty="0"/>
              <a:t>Mogelijke leeftijdseffecten:</a:t>
            </a:r>
          </a:p>
          <a:p>
            <a:pPr eaLnBrk="1" hangingPunct="1">
              <a:buFontTx/>
              <a:buChar char="•"/>
            </a:pPr>
            <a:r>
              <a:rPr lang="nl-NL" altLang="nl-NL" dirty="0"/>
              <a:t>Meer slaapproblemen na nachtdiensten (verschuiving naar eerder chronotype) </a:t>
            </a:r>
            <a:r>
              <a:rPr lang="nl-NL" altLang="nl-NL" dirty="0">
                <a:sym typeface="Wingdings" panose="05000000000000000000" pitchFamily="2" charset="2"/>
              </a:rPr>
              <a:t> biologische klok past zich minder snel aan en heeft een korter ritme. Minder gevoelig voor licht</a:t>
            </a:r>
          </a:p>
          <a:p>
            <a:pPr eaLnBrk="1" hangingPunct="1">
              <a:buFontTx/>
              <a:buChar char="•"/>
            </a:pPr>
            <a:r>
              <a:rPr lang="nl-NL" altLang="nl-NL" dirty="0">
                <a:sym typeface="Wingdings" panose="05000000000000000000" pitchFamily="2" charset="2"/>
              </a:rPr>
              <a:t>Afnemend werkvermogen</a:t>
            </a:r>
          </a:p>
          <a:p>
            <a:pPr eaLnBrk="1" hangingPunct="1"/>
            <a:r>
              <a:rPr lang="nl-NL" altLang="nl-NL" dirty="0">
                <a:sym typeface="Wingdings" panose="05000000000000000000" pitchFamily="2" charset="2"/>
              </a:rPr>
              <a:t>Toch zien we minder grote leeftijdseffecten dan je zou verwachten  </a:t>
            </a:r>
            <a:r>
              <a:rPr lang="nl-NL" altLang="nl-NL" dirty="0" err="1">
                <a:sym typeface="Wingdings" panose="05000000000000000000" pitchFamily="2" charset="2"/>
              </a:rPr>
              <a:t>healthy</a:t>
            </a:r>
            <a:r>
              <a:rPr lang="nl-NL" altLang="nl-NL" dirty="0">
                <a:sym typeface="Wingdings" panose="05000000000000000000" pitchFamily="2" charset="2"/>
              </a:rPr>
              <a:t> </a:t>
            </a:r>
            <a:r>
              <a:rPr lang="nl-NL" altLang="nl-NL" dirty="0" err="1">
                <a:sym typeface="Wingdings" panose="05000000000000000000" pitchFamily="2" charset="2"/>
              </a:rPr>
              <a:t>worker</a:t>
            </a:r>
            <a:r>
              <a:rPr lang="nl-NL" altLang="nl-NL" dirty="0">
                <a:sym typeface="Wingdings" panose="05000000000000000000" pitchFamily="2" charset="2"/>
              </a:rPr>
              <a:t> effect + coping </a:t>
            </a:r>
            <a:r>
              <a:rPr lang="nl-NL" altLang="nl-NL" dirty="0" err="1">
                <a:sym typeface="Wingdings" panose="05000000000000000000" pitchFamily="2" charset="2"/>
              </a:rPr>
              <a:t>styles</a:t>
            </a:r>
            <a:r>
              <a:rPr lang="nl-NL" altLang="nl-NL" dirty="0">
                <a:sym typeface="Wingdings" panose="05000000000000000000" pitchFamily="2" charset="2"/>
              </a:rPr>
              <a:t> + ze waren er eerder gewoon nog niet dus het probleem is nog niet goed zichtbaar (</a:t>
            </a:r>
            <a:r>
              <a:rPr lang="nl-NL" altLang="nl-NL" dirty="0"/>
              <a:t>vanwege ontziemaatregelen konden oudere ploegendienstmedewerkers uit de ploegen. </a:t>
            </a:r>
          </a:p>
          <a:p>
            <a:pPr eaLnBrk="1" hangingPunct="1"/>
            <a:r>
              <a:rPr lang="nl-NL" altLang="nl-NL" dirty="0"/>
              <a:t>&gt;Gezien demografische ontwikkelingen wordt dat steeds moeilijker (zij bijv. capaciteitsvraagstuk politie). </a:t>
            </a:r>
          </a:p>
          <a:p>
            <a:pPr eaLnBrk="1" hangingPunct="1"/>
            <a:endParaRPr lang="nl-NL" altLang="nl-NL" dirty="0"/>
          </a:p>
          <a:p>
            <a:pPr eaLnBrk="1" hangingPunct="1"/>
            <a:r>
              <a:rPr lang="nl-NL" altLang="nl-NL" dirty="0"/>
              <a:t>`</a:t>
            </a:r>
          </a:p>
          <a:p>
            <a:pPr eaLnBrk="1" hangingPunct="1"/>
            <a:r>
              <a:rPr lang="nl-NL" altLang="nl-NL" dirty="0"/>
              <a:t>Shift </a:t>
            </a:r>
            <a:r>
              <a:rPr lang="nl-NL" altLang="nl-NL" dirty="0" err="1"/>
              <a:t>work</a:t>
            </a:r>
            <a:r>
              <a:rPr lang="nl-NL" altLang="nl-NL" dirty="0"/>
              <a:t> </a:t>
            </a:r>
            <a:r>
              <a:rPr lang="nl-NL" altLang="nl-NL" dirty="0" err="1"/>
              <a:t>tolerance</a:t>
            </a:r>
            <a:r>
              <a:rPr lang="nl-NL" altLang="nl-NL" dirty="0"/>
              <a:t> is </a:t>
            </a:r>
            <a:r>
              <a:rPr lang="nl-NL" altLang="nl-NL" dirty="0" err="1"/>
              <a:t>the</a:t>
            </a:r>
            <a:r>
              <a:rPr lang="nl-NL" altLang="nl-NL" dirty="0"/>
              <a:t> </a:t>
            </a:r>
            <a:r>
              <a:rPr lang="nl-NL" altLang="nl-NL" dirty="0" err="1"/>
              <a:t>ability</a:t>
            </a:r>
            <a:r>
              <a:rPr lang="nl-NL" altLang="nl-NL" dirty="0"/>
              <a:t> </a:t>
            </a:r>
            <a:r>
              <a:rPr lang="nl-NL" altLang="nl-NL" dirty="0" err="1"/>
              <a:t>to</a:t>
            </a:r>
            <a:r>
              <a:rPr lang="nl-NL" altLang="nl-NL" dirty="0"/>
              <a:t> </a:t>
            </a:r>
            <a:r>
              <a:rPr lang="nl-NL" altLang="nl-NL" dirty="0" err="1"/>
              <a:t>adapt</a:t>
            </a:r>
            <a:r>
              <a:rPr lang="nl-NL" altLang="nl-NL" dirty="0"/>
              <a:t> </a:t>
            </a:r>
            <a:r>
              <a:rPr lang="nl-NL" altLang="nl-NL" dirty="0" err="1"/>
              <a:t>to</a:t>
            </a:r>
            <a:r>
              <a:rPr lang="nl-NL" altLang="nl-NL" dirty="0"/>
              <a:t> </a:t>
            </a:r>
            <a:r>
              <a:rPr lang="nl-NL" altLang="nl-NL" dirty="0" err="1"/>
              <a:t>shiftwork</a:t>
            </a:r>
            <a:r>
              <a:rPr lang="nl-NL" altLang="nl-NL" dirty="0"/>
              <a:t> without adverse </a:t>
            </a:r>
            <a:r>
              <a:rPr lang="nl-NL" altLang="nl-NL" dirty="0" err="1"/>
              <a:t>consequences</a:t>
            </a:r>
            <a:r>
              <a:rPr lang="nl-NL" altLang="nl-NL" dirty="0"/>
              <a:t> (</a:t>
            </a:r>
            <a:r>
              <a:rPr lang="nl-NL" altLang="nl-NL" dirty="0" err="1"/>
              <a:t>Andlauer</a:t>
            </a:r>
            <a:r>
              <a:rPr lang="nl-NL" altLang="nl-NL" dirty="0"/>
              <a:t> et al, 1979). Shift </a:t>
            </a:r>
            <a:r>
              <a:rPr lang="nl-NL" altLang="nl-NL" dirty="0" err="1"/>
              <a:t>work</a:t>
            </a:r>
            <a:r>
              <a:rPr lang="nl-NL" altLang="nl-NL" dirty="0"/>
              <a:t> </a:t>
            </a:r>
            <a:r>
              <a:rPr lang="nl-NL" altLang="nl-NL" i="1" dirty="0" err="1"/>
              <a:t>in</a:t>
            </a:r>
            <a:r>
              <a:rPr lang="nl-NL" altLang="nl-NL" dirty="0" err="1"/>
              <a:t>tolerance</a:t>
            </a:r>
            <a:r>
              <a:rPr lang="nl-NL" altLang="nl-NL" dirty="0"/>
              <a:t> is </a:t>
            </a:r>
            <a:r>
              <a:rPr lang="nl-NL" altLang="nl-NL" dirty="0" err="1"/>
              <a:t>related</a:t>
            </a:r>
            <a:r>
              <a:rPr lang="nl-NL" altLang="nl-NL" dirty="0"/>
              <a:t> </a:t>
            </a:r>
            <a:r>
              <a:rPr lang="nl-NL" altLang="nl-NL" dirty="0" err="1"/>
              <a:t>with</a:t>
            </a:r>
            <a:r>
              <a:rPr lang="nl-NL" altLang="nl-NL" dirty="0"/>
              <a:t> </a:t>
            </a:r>
            <a:r>
              <a:rPr lang="nl-NL" altLang="nl-NL" dirty="0" err="1"/>
              <a:t>persisting</a:t>
            </a:r>
            <a:r>
              <a:rPr lang="nl-NL" altLang="nl-NL" dirty="0"/>
              <a:t> sleep </a:t>
            </a:r>
            <a:r>
              <a:rPr lang="nl-NL" altLang="nl-NL" dirty="0" err="1"/>
              <a:t>alterations</a:t>
            </a:r>
            <a:r>
              <a:rPr lang="nl-NL" altLang="nl-NL" dirty="0"/>
              <a:t> </a:t>
            </a:r>
            <a:r>
              <a:rPr lang="nl-NL" altLang="nl-NL" dirty="0" err="1"/>
              <a:t>and</a:t>
            </a:r>
            <a:r>
              <a:rPr lang="nl-NL" altLang="nl-NL" dirty="0"/>
              <a:t> </a:t>
            </a:r>
            <a:r>
              <a:rPr lang="nl-NL" altLang="nl-NL" dirty="0" err="1"/>
              <a:t>fatigue</a:t>
            </a:r>
            <a:r>
              <a:rPr lang="nl-NL" altLang="nl-NL" dirty="0"/>
              <a:t>, </a:t>
            </a:r>
            <a:r>
              <a:rPr lang="nl-NL" altLang="nl-NL" dirty="0" err="1"/>
              <a:t>regular</a:t>
            </a:r>
            <a:r>
              <a:rPr lang="nl-NL" altLang="nl-NL" dirty="0"/>
              <a:t> </a:t>
            </a:r>
            <a:r>
              <a:rPr lang="nl-NL" altLang="nl-NL" dirty="0" err="1"/>
              <a:t>use</a:t>
            </a:r>
            <a:r>
              <a:rPr lang="nl-NL" altLang="nl-NL" dirty="0"/>
              <a:t> of sleep </a:t>
            </a:r>
            <a:r>
              <a:rPr lang="nl-NL" altLang="nl-NL" dirty="0" err="1"/>
              <a:t>medication</a:t>
            </a:r>
            <a:r>
              <a:rPr lang="nl-NL" altLang="nl-NL" dirty="0"/>
              <a:t>, changes in </a:t>
            </a:r>
            <a:r>
              <a:rPr lang="nl-NL" altLang="nl-NL" dirty="0" err="1"/>
              <a:t>behavior</a:t>
            </a:r>
            <a:r>
              <a:rPr lang="nl-NL" altLang="nl-NL" dirty="0"/>
              <a:t> </a:t>
            </a:r>
            <a:r>
              <a:rPr lang="nl-NL" altLang="nl-NL" dirty="0" err="1"/>
              <a:t>such</a:t>
            </a:r>
            <a:r>
              <a:rPr lang="nl-NL" altLang="nl-NL" dirty="0"/>
              <a:t> as </a:t>
            </a:r>
            <a:r>
              <a:rPr lang="nl-NL" altLang="nl-NL" dirty="0" err="1"/>
              <a:t>increased</a:t>
            </a:r>
            <a:r>
              <a:rPr lang="nl-NL" altLang="nl-NL" dirty="0"/>
              <a:t> </a:t>
            </a:r>
            <a:r>
              <a:rPr lang="nl-NL" altLang="nl-NL" dirty="0" err="1"/>
              <a:t>aggression</a:t>
            </a:r>
            <a:r>
              <a:rPr lang="nl-NL" altLang="nl-NL" dirty="0"/>
              <a:t> </a:t>
            </a:r>
            <a:r>
              <a:rPr lang="nl-NL" altLang="nl-NL" dirty="0" err="1"/>
              <a:t>and</a:t>
            </a:r>
            <a:r>
              <a:rPr lang="nl-NL" altLang="nl-NL" dirty="0"/>
              <a:t> </a:t>
            </a:r>
            <a:r>
              <a:rPr lang="nl-NL" altLang="nl-NL" dirty="0" err="1"/>
              <a:t>sensitivity</a:t>
            </a:r>
            <a:r>
              <a:rPr lang="nl-NL" altLang="nl-NL" dirty="0"/>
              <a:t>, </a:t>
            </a:r>
            <a:r>
              <a:rPr lang="nl-NL" altLang="nl-NL" dirty="0" err="1"/>
              <a:t>and</a:t>
            </a:r>
            <a:r>
              <a:rPr lang="nl-NL" altLang="nl-NL" dirty="0"/>
              <a:t> </a:t>
            </a:r>
            <a:r>
              <a:rPr lang="nl-NL" altLang="nl-NL" dirty="0" err="1"/>
              <a:t>digestive</a:t>
            </a:r>
            <a:r>
              <a:rPr lang="nl-NL" altLang="nl-NL" dirty="0"/>
              <a:t> </a:t>
            </a:r>
            <a:r>
              <a:rPr lang="nl-NL" altLang="nl-NL" dirty="0" err="1"/>
              <a:t>problems</a:t>
            </a:r>
            <a:r>
              <a:rPr lang="nl-NL" altLang="nl-NL" dirty="0"/>
              <a:t> (</a:t>
            </a:r>
            <a:r>
              <a:rPr lang="nl-NL" altLang="nl-NL" dirty="0" err="1"/>
              <a:t>Reinberg</a:t>
            </a:r>
            <a:r>
              <a:rPr lang="nl-NL" altLang="nl-NL" dirty="0"/>
              <a:t> &amp; </a:t>
            </a:r>
            <a:r>
              <a:rPr lang="nl-NL" altLang="nl-NL" dirty="0" err="1"/>
              <a:t>Ashkenazi</a:t>
            </a:r>
            <a:r>
              <a:rPr lang="nl-NL" altLang="nl-NL" dirty="0"/>
              <a:t>, 2008)) </a:t>
            </a:r>
            <a:r>
              <a:rPr lang="nl-NL" altLang="nl-NL" dirty="0" err="1"/>
              <a:t>and</a:t>
            </a:r>
            <a:r>
              <a:rPr lang="nl-NL" altLang="nl-NL" dirty="0"/>
              <a:t> </a:t>
            </a:r>
            <a:r>
              <a:rPr lang="nl-NL" altLang="nl-NL" dirty="0" err="1"/>
              <a:t>anxiety</a:t>
            </a:r>
            <a:r>
              <a:rPr lang="nl-NL" altLang="nl-NL" dirty="0"/>
              <a:t>, insomnia, </a:t>
            </a:r>
            <a:r>
              <a:rPr lang="nl-NL" altLang="nl-NL" dirty="0" err="1"/>
              <a:t>depression</a:t>
            </a:r>
            <a:r>
              <a:rPr lang="nl-NL" altLang="nl-NL" dirty="0"/>
              <a:t>, </a:t>
            </a:r>
            <a:r>
              <a:rPr lang="nl-NL" altLang="nl-NL" dirty="0" err="1"/>
              <a:t>mental</a:t>
            </a:r>
            <a:r>
              <a:rPr lang="nl-NL" altLang="nl-NL" dirty="0"/>
              <a:t> health </a:t>
            </a:r>
            <a:r>
              <a:rPr lang="nl-NL" altLang="nl-NL" dirty="0" err="1"/>
              <a:t>and</a:t>
            </a:r>
            <a:r>
              <a:rPr lang="nl-NL" altLang="nl-NL" dirty="0"/>
              <a:t> </a:t>
            </a:r>
            <a:r>
              <a:rPr lang="nl-NL" altLang="nl-NL" dirty="0" err="1"/>
              <a:t>social</a:t>
            </a:r>
            <a:r>
              <a:rPr lang="nl-NL" altLang="nl-NL" dirty="0"/>
              <a:t> </a:t>
            </a:r>
            <a:r>
              <a:rPr lang="nl-NL" altLang="nl-NL" dirty="0" err="1"/>
              <a:t>functioning</a:t>
            </a:r>
            <a:r>
              <a:rPr lang="nl-NL" altLang="nl-NL" dirty="0"/>
              <a:t> variables (</a:t>
            </a:r>
            <a:r>
              <a:rPr lang="nl-NL" altLang="nl-NL" dirty="0" err="1"/>
              <a:t>Saksvik</a:t>
            </a:r>
            <a:r>
              <a:rPr lang="nl-NL" altLang="nl-NL" dirty="0"/>
              <a:t> et al., 2015).</a:t>
            </a:r>
          </a:p>
          <a:p>
            <a:pPr eaLnBrk="1" hangingPunct="1"/>
            <a:endParaRPr lang="nl-NL" altLang="nl-NL" dirty="0"/>
          </a:p>
          <a:p>
            <a:pPr eaLnBrk="1" hangingPunct="1"/>
            <a:r>
              <a:rPr lang="en-US" altLang="nl-NL" dirty="0"/>
              <a:t>Meanwhile, </a:t>
            </a:r>
            <a:r>
              <a:rPr lang="en-US" altLang="nl-NL" b="1" dirty="0"/>
              <a:t>flexibility</a:t>
            </a:r>
            <a:r>
              <a:rPr lang="en-US" altLang="nl-NL" dirty="0"/>
              <a:t> denotes the ability to sleep and work at odd times of the day, </a:t>
            </a:r>
          </a:p>
          <a:p>
            <a:pPr eaLnBrk="1" hangingPunct="1"/>
            <a:r>
              <a:rPr lang="en-US" altLang="nl-NL" b="1" dirty="0" err="1"/>
              <a:t>Languidity</a:t>
            </a:r>
            <a:r>
              <a:rPr lang="en-US" altLang="nl-NL" dirty="0"/>
              <a:t>; difficulties overcoming drowsiness and lethargy following a reduction in sleep// </a:t>
            </a:r>
            <a:r>
              <a:rPr lang="en-US" altLang="nl-NL" dirty="0" err="1"/>
              <a:t>moeite</a:t>
            </a:r>
            <a:r>
              <a:rPr lang="en-US" altLang="nl-NL" dirty="0"/>
              <a:t> om </a:t>
            </a:r>
            <a:r>
              <a:rPr lang="en-US" altLang="nl-NL" dirty="0" err="1"/>
              <a:t>te</a:t>
            </a:r>
            <a:r>
              <a:rPr lang="en-US" altLang="nl-NL" dirty="0"/>
              <a:t> </a:t>
            </a:r>
            <a:r>
              <a:rPr lang="en-US" altLang="nl-NL" dirty="0" err="1"/>
              <a:t>gaan</a:t>
            </a:r>
            <a:r>
              <a:rPr lang="en-US" altLang="nl-NL" dirty="0"/>
              <a:t> met </a:t>
            </a:r>
            <a:r>
              <a:rPr lang="en-US" altLang="nl-NL" dirty="0" err="1"/>
              <a:t>slaperigheid</a:t>
            </a:r>
            <a:r>
              <a:rPr lang="en-US" altLang="nl-NL" dirty="0"/>
              <a:t>/</a:t>
            </a:r>
            <a:r>
              <a:rPr lang="en-US" altLang="nl-NL" dirty="0" err="1"/>
              <a:t>loomheid</a:t>
            </a:r>
            <a:endParaRPr lang="en-US" altLang="nl-NL" dirty="0"/>
          </a:p>
          <a:p>
            <a:pPr eaLnBrk="1" hangingPunct="1"/>
            <a:r>
              <a:rPr lang="en-US" altLang="nl-NL" b="1" dirty="0"/>
              <a:t>Hardiness</a:t>
            </a:r>
            <a:r>
              <a:rPr lang="en-US" altLang="nl-NL" dirty="0"/>
              <a:t> </a:t>
            </a:r>
            <a:r>
              <a:rPr lang="en-US" altLang="nl-NL" dirty="0" err="1"/>
              <a:t>capaciteit</a:t>
            </a:r>
            <a:r>
              <a:rPr lang="en-US" altLang="nl-NL" dirty="0"/>
              <a:t> om </a:t>
            </a:r>
            <a:r>
              <a:rPr lang="en-US" altLang="nl-NL" dirty="0" err="1"/>
              <a:t>te</a:t>
            </a:r>
            <a:r>
              <a:rPr lang="en-US" altLang="nl-NL" dirty="0"/>
              <a:t> </a:t>
            </a:r>
            <a:r>
              <a:rPr lang="en-US" altLang="nl-NL" dirty="0" err="1"/>
              <a:t>copen</a:t>
            </a:r>
            <a:r>
              <a:rPr lang="en-US" altLang="nl-NL" dirty="0"/>
              <a:t> met stress en </a:t>
            </a:r>
            <a:r>
              <a:rPr lang="en-US" altLang="nl-NL" dirty="0" err="1"/>
              <a:t>ziekte</a:t>
            </a:r>
            <a:endParaRPr lang="nl-NL" altLang="nl-NL" dirty="0"/>
          </a:p>
          <a:p>
            <a:pPr eaLnBrk="1" hangingPunct="1">
              <a:spcBef>
                <a:spcPct val="0"/>
              </a:spcBef>
            </a:pPr>
            <a:r>
              <a:rPr lang="nl-NL" altLang="nl-NL" b="1" dirty="0"/>
              <a:t>Externe locus of control; </a:t>
            </a:r>
            <a:r>
              <a:rPr lang="nl-NL" altLang="nl-NL" dirty="0"/>
              <a:t>Iemand met een externe locus of control gelooft dat zijn leven bepaald wordt door zijn omgeving, het lot, toeval of andere mensen</a:t>
            </a:r>
            <a:endParaRPr lang="nl-NL" altLang="nl-NL" b="1" dirty="0"/>
          </a:p>
          <a:p>
            <a:endParaRPr lang="nl-NL" dirty="0"/>
          </a:p>
        </p:txBody>
      </p:sp>
    </p:spTree>
    <p:extLst>
      <p:ext uri="{BB962C8B-B14F-4D97-AF65-F5344CB8AC3E}">
        <p14:creationId xmlns:p14="http://schemas.microsoft.com/office/powerpoint/2010/main" val="413645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chtendmensen</a:t>
            </a:r>
            <a:r>
              <a:rPr lang="en-US" dirty="0"/>
              <a:t> </a:t>
            </a:r>
            <a:r>
              <a:rPr lang="en-US" dirty="0" err="1"/>
              <a:t>worden</a:t>
            </a:r>
            <a:r>
              <a:rPr lang="en-US" dirty="0"/>
              <a:t> </a:t>
            </a:r>
            <a:r>
              <a:rPr lang="en-US" dirty="0" err="1"/>
              <a:t>eerder</a:t>
            </a:r>
            <a:r>
              <a:rPr lang="en-US" dirty="0"/>
              <a:t> </a:t>
            </a:r>
            <a:r>
              <a:rPr lang="en-US" dirty="0" err="1"/>
              <a:t>wakker</a:t>
            </a:r>
            <a:r>
              <a:rPr lang="en-US" dirty="0"/>
              <a:t>, </a:t>
            </a:r>
            <a:r>
              <a:rPr lang="en-US" dirty="0" err="1"/>
              <a:t>eerder</a:t>
            </a:r>
            <a:r>
              <a:rPr lang="en-US" dirty="0"/>
              <a:t> </a:t>
            </a:r>
            <a:r>
              <a:rPr lang="en-US" dirty="0" err="1"/>
              <a:t>moe</a:t>
            </a:r>
            <a:r>
              <a:rPr lang="en-US" dirty="0"/>
              <a:t>, </a:t>
            </a:r>
            <a:r>
              <a:rPr lang="en-US" dirty="0" err="1"/>
              <a:t>kunnen</a:t>
            </a:r>
            <a:r>
              <a:rPr lang="en-US" dirty="0"/>
              <a:t> minder </a:t>
            </a:r>
            <a:r>
              <a:rPr lang="en-US" dirty="0" err="1"/>
              <a:t>goed</a:t>
            </a:r>
            <a:r>
              <a:rPr lang="en-US" dirty="0"/>
              <a:t> </a:t>
            </a:r>
            <a:r>
              <a:rPr lang="en-US" dirty="0" err="1"/>
              <a:t>tegen</a:t>
            </a:r>
            <a:r>
              <a:rPr lang="en-US" dirty="0"/>
              <a:t> </a:t>
            </a:r>
            <a:r>
              <a:rPr lang="en-US" dirty="0" err="1"/>
              <a:t>wisselingen</a:t>
            </a:r>
            <a:r>
              <a:rPr lang="en-US" dirty="0"/>
              <a:t> </a:t>
            </a:r>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19</a:t>
            </a:fld>
            <a:endParaRPr lang="nl-NL" dirty="0"/>
          </a:p>
        </p:txBody>
      </p:sp>
    </p:spTree>
    <p:extLst>
      <p:ext uri="{BB962C8B-B14F-4D97-AF65-F5344CB8AC3E}">
        <p14:creationId xmlns:p14="http://schemas.microsoft.com/office/powerpoint/2010/main" val="1116053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84D017D-A436-0422-CBBE-E9D46317E50B}"/>
              </a:ext>
            </a:extLst>
          </p:cNvPr>
          <p:cNvSpPr>
            <a:spLocks noGrp="1"/>
          </p:cNvSpPr>
          <p:nvPr>
            <p:ph type="body" idx="1"/>
          </p:nvPr>
        </p:nvSpPr>
        <p:spPr/>
        <p:txBody>
          <a:bodyPr/>
          <a:lstStyle/>
          <a:p>
            <a:endParaRPr lang="nl-NL"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Vermoeidheid leidt tot lagere prestaties en meer ongevallen: In de transportsector is vermoeidheid een oorzakelijke factor in +/- 20% van de ongevallen (Marcus &amp; Rosekind, 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eel erg safety </a:t>
            </a:r>
            <a:r>
              <a:rPr lang="en-GB" dirty="0" err="1"/>
              <a:t>gerelateerd</a:t>
            </a:r>
            <a:r>
              <a:rPr lang="en-GB" dirty="0"/>
              <a:t> – </a:t>
            </a:r>
            <a:r>
              <a:rPr lang="en-GB" dirty="0" err="1"/>
              <a:t>geen</a:t>
            </a:r>
            <a:r>
              <a:rPr lang="en-GB" dirty="0"/>
              <a:t> </a:t>
            </a:r>
            <a:r>
              <a:rPr lang="en-GB" dirty="0" err="1"/>
              <a:t>ongevallen</a:t>
            </a:r>
            <a:r>
              <a:rPr lang="en-GB" dirty="0"/>
              <a:t> please</a:t>
            </a:r>
          </a:p>
          <a:p>
            <a:endParaRPr lang="en-GB" dirty="0"/>
          </a:p>
          <a:p>
            <a:r>
              <a:rPr lang="en-GB" dirty="0"/>
              <a:t>‘</a:t>
            </a:r>
            <a:r>
              <a:rPr lang="en-GB" dirty="0" err="1"/>
              <a:t>snachts</a:t>
            </a:r>
            <a:r>
              <a:rPr lang="en-GB" dirty="0"/>
              <a:t> tot 6x zo </a:t>
            </a:r>
            <a:r>
              <a:rPr lang="en-GB" dirty="0" err="1"/>
              <a:t>groot</a:t>
            </a:r>
            <a:r>
              <a:rPr lang="en-GB" dirty="0"/>
              <a:t> </a:t>
            </a:r>
            <a:r>
              <a:rPr lang="en-GB" dirty="0" err="1"/>
              <a:t>risico</a:t>
            </a:r>
            <a:r>
              <a:rPr lang="en-GB" dirty="0"/>
              <a:t> op </a:t>
            </a:r>
            <a:r>
              <a:rPr lang="en-GB" dirty="0" err="1"/>
              <a:t>ongevallen</a:t>
            </a:r>
            <a:endParaRPr lang="en-GB" dirty="0"/>
          </a:p>
          <a:p>
            <a:endParaRPr lang="en-GB" dirty="0"/>
          </a:p>
          <a:p>
            <a:endParaRPr lang="en-GB" dirty="0"/>
          </a:p>
        </p:txBody>
      </p:sp>
    </p:spTree>
    <p:extLst>
      <p:ext uri="{BB962C8B-B14F-4D97-AF65-F5344CB8AC3E}">
        <p14:creationId xmlns:p14="http://schemas.microsoft.com/office/powerpoint/2010/main" val="39018300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afety experts reckon that pilot fatigue contributes to 15-20% of fatal aviation accidents caused by human error</a:t>
            </a:r>
          </a:p>
          <a:p>
            <a:endParaRPr lang="en-US" sz="1200" dirty="0">
              <a:solidFill>
                <a:schemeClr val="tx2"/>
              </a:solidFill>
            </a:endParaRPr>
          </a:p>
          <a:p>
            <a:r>
              <a:rPr lang="en-US" sz="1200" dirty="0">
                <a:solidFill>
                  <a:schemeClr val="tx2"/>
                </a:solidFill>
              </a:rPr>
              <a:t>“It has been estimated that </a:t>
            </a:r>
            <a:r>
              <a:rPr lang="en-US" sz="1200" b="1" dirty="0">
                <a:solidFill>
                  <a:schemeClr val="tx2"/>
                </a:solidFill>
              </a:rPr>
              <a:t>4-7%</a:t>
            </a:r>
            <a:r>
              <a:rPr lang="en-US" sz="1200" dirty="0">
                <a:solidFill>
                  <a:schemeClr val="tx2"/>
                </a:solidFill>
              </a:rPr>
              <a:t> of civil aviation incidents and accidents can be attributed to fatigued pilots” </a:t>
            </a:r>
          </a:p>
          <a:p>
            <a:endParaRPr lang="en-US" sz="1200" dirty="0">
              <a:solidFill>
                <a:schemeClr val="tx2"/>
              </a:solidFill>
            </a:endParaRPr>
          </a:p>
          <a:p>
            <a:endParaRPr lang="en-GB" dirty="0"/>
          </a:p>
        </p:txBody>
      </p:sp>
      <p:sp>
        <p:nvSpPr>
          <p:cNvPr id="4" name="Slide Number Placeholder 3"/>
          <p:cNvSpPr>
            <a:spLocks noGrp="1"/>
          </p:cNvSpPr>
          <p:nvPr>
            <p:ph type="sldNum" sz="quarter" idx="5"/>
          </p:nvPr>
        </p:nvSpPr>
        <p:spPr/>
        <p:txBody>
          <a:bodyPr/>
          <a:lstStyle/>
          <a:p>
            <a:fld id="{0EDA0DF2-1824-4575-A17A-F4134FACA6EE}" type="slidenum">
              <a:rPr lang="en-GB" smtClean="0"/>
              <a:t>24</a:t>
            </a:fld>
            <a:endParaRPr lang="en-GB" dirty="0"/>
          </a:p>
        </p:txBody>
      </p:sp>
    </p:spTree>
    <p:extLst>
      <p:ext uri="{BB962C8B-B14F-4D97-AF65-F5344CB8AC3E}">
        <p14:creationId xmlns:p14="http://schemas.microsoft.com/office/powerpoint/2010/main" val="33584348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D98EE28D-1D73-42B3-AE50-C8BBFEFC047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Rectangle 3">
            <a:extLst>
              <a:ext uri="{FF2B5EF4-FFF2-40B4-BE49-F238E27FC236}">
                <a16:creationId xmlns:a16="http://schemas.microsoft.com/office/drawing/2014/main" id="{7AA02101-B5DE-4FDA-9765-DE071B35EC03}"/>
              </a:ext>
            </a:extLst>
          </p:cNvPr>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 typeface="+mj-lt"/>
              <a:buNone/>
              <a:defRPr/>
            </a:pPr>
            <a:r>
              <a:rPr lang="nl-NL" b="0" i="0" dirty="0">
                <a:solidFill>
                  <a:srgbClr val="222222"/>
                </a:solidFill>
                <a:effectLst/>
                <a:latin typeface="Barlow" panose="020F0502020204030204" pitchFamily="2" charset="0"/>
              </a:rPr>
              <a:t> International </a:t>
            </a:r>
            <a:r>
              <a:rPr lang="nl-NL" b="0" i="0" dirty="0" err="1">
                <a:solidFill>
                  <a:srgbClr val="222222"/>
                </a:solidFill>
                <a:effectLst/>
                <a:latin typeface="Barlow" panose="020F0502020204030204" pitchFamily="2" charset="0"/>
              </a:rPr>
              <a:t>Civil</a:t>
            </a:r>
            <a:r>
              <a:rPr lang="nl-NL" b="0" i="0" dirty="0">
                <a:solidFill>
                  <a:srgbClr val="222222"/>
                </a:solidFill>
                <a:effectLst/>
                <a:latin typeface="Barlow" panose="020F0502020204030204" pitchFamily="2" charset="0"/>
              </a:rPr>
              <a:t> </a:t>
            </a:r>
            <a:r>
              <a:rPr lang="nl-NL" b="0" i="0" dirty="0" err="1">
                <a:solidFill>
                  <a:srgbClr val="222222"/>
                </a:solidFill>
                <a:effectLst/>
                <a:latin typeface="Barlow" panose="020F0502020204030204" pitchFamily="2" charset="0"/>
              </a:rPr>
              <a:t>Aviation</a:t>
            </a:r>
            <a:r>
              <a:rPr lang="nl-NL" b="0" i="0" dirty="0">
                <a:solidFill>
                  <a:srgbClr val="222222"/>
                </a:solidFill>
                <a:effectLst/>
                <a:latin typeface="Barlow" panose="020F0502020204030204" pitchFamily="2" charset="0"/>
              </a:rPr>
              <a:t> </a:t>
            </a:r>
            <a:r>
              <a:rPr lang="nl-NL" b="0" i="0" dirty="0" err="1">
                <a:solidFill>
                  <a:srgbClr val="222222"/>
                </a:solidFill>
                <a:effectLst/>
                <a:latin typeface="Barlow" panose="020F0502020204030204" pitchFamily="2" charset="0"/>
              </a:rPr>
              <a:t>Organization</a:t>
            </a:r>
            <a:endParaRPr lang="nl-NL" b="0" i="0" dirty="0">
              <a:solidFill>
                <a:srgbClr val="222222"/>
              </a:solidFill>
              <a:effectLst/>
              <a:latin typeface="Barlow" panose="020F0502020204030204" pitchFamily="2" charset="0"/>
            </a:endParaRPr>
          </a:p>
          <a:p>
            <a:pPr eaLnBrk="1" hangingPunct="1">
              <a:spcBef>
                <a:spcPct val="0"/>
              </a:spcBef>
              <a:buFont typeface="+mj-lt"/>
              <a:buNone/>
              <a:defRPr/>
            </a:pPr>
            <a:endParaRPr lang="nl-NL" altLang="nl-NL" b="0" i="0" dirty="0">
              <a:solidFill>
                <a:srgbClr val="222222"/>
              </a:solidFill>
              <a:effectLst/>
              <a:latin typeface="Barlow" panose="020F0502020204030204" pitchFamily="2" charset="0"/>
            </a:endParaRPr>
          </a:p>
          <a:p>
            <a:pPr marL="171450" indent="-171450" eaLnBrk="1" hangingPunct="1">
              <a:spcBef>
                <a:spcPct val="0"/>
              </a:spcBef>
              <a:buFont typeface="Wingdings" panose="05000000000000000000" pitchFamily="2" charset="2"/>
              <a:buChar char="Ø"/>
              <a:defRPr/>
            </a:pPr>
            <a:endParaRPr lang="en-GB" altLang="nl-NL" dirty="0"/>
          </a:p>
          <a:p>
            <a:pPr marL="0" indent="0" eaLnBrk="1" hangingPunct="1">
              <a:spcBef>
                <a:spcPct val="0"/>
              </a:spcBef>
              <a:buFont typeface="Wingdings" panose="05000000000000000000" pitchFamily="2" charset="2"/>
              <a:buNone/>
              <a:defRPr/>
            </a:pPr>
            <a:endParaRPr lang="en-GB" altLang="nl-NL" dirty="0"/>
          </a:p>
          <a:p>
            <a:pPr lvl="1"/>
            <a:r>
              <a:rPr lang="en-US" dirty="0"/>
              <a:t>Fatigue is task related; time on task, work over/underload</a:t>
            </a:r>
          </a:p>
          <a:p>
            <a:pPr lvl="1"/>
            <a:r>
              <a:rPr lang="en-US" dirty="0"/>
              <a:t>Sleepiness is the physiological urge of falling asleep, due to the time of day, circadian disruption, or lack of sleep (quality).</a:t>
            </a:r>
          </a:p>
          <a:p>
            <a:pPr lvl="1"/>
            <a:endParaRPr lang="en-US" dirty="0"/>
          </a:p>
          <a:p>
            <a:r>
              <a:rPr lang="en-US" dirty="0"/>
              <a:t>Especially important when considering options for mitigation</a:t>
            </a:r>
          </a:p>
          <a:p>
            <a:endParaRPr lang="en-US" dirty="0"/>
          </a:p>
          <a:p>
            <a:endParaRPr lang="en-US" dirty="0"/>
          </a:p>
          <a:p>
            <a:r>
              <a:rPr lang="en-US" dirty="0"/>
              <a:t>Cognitive functioning</a:t>
            </a:r>
          </a:p>
          <a:p>
            <a:pPr lvl="1"/>
            <a:r>
              <a:rPr lang="en-GB" dirty="0"/>
              <a:t>Alertness, concentration, working memory </a:t>
            </a:r>
            <a:r>
              <a:rPr lang="en-GB" dirty="0">
                <a:latin typeface="Calibri" panose="020F0502020204030204" pitchFamily="34" charset="0"/>
                <a:cs typeface="Calibri" panose="020F0502020204030204" pitchFamily="34" charset="0"/>
              </a:rPr>
              <a:t>↓</a:t>
            </a:r>
            <a:endParaRPr lang="en-GB" dirty="0"/>
          </a:p>
          <a:p>
            <a:pPr lvl="1"/>
            <a:r>
              <a:rPr lang="en-GB" dirty="0"/>
              <a:t>Irritation </a:t>
            </a:r>
            <a:r>
              <a:rPr lang="en-GB" dirty="0">
                <a:latin typeface="Calibri" panose="020F0502020204030204" pitchFamily="34" charset="0"/>
                <a:cs typeface="Calibri" panose="020F0502020204030204" pitchFamily="34" charset="0"/>
              </a:rPr>
              <a:t>↑</a:t>
            </a:r>
            <a:endParaRPr lang="en-GB" dirty="0"/>
          </a:p>
          <a:p>
            <a:pPr lvl="1"/>
            <a:r>
              <a:rPr lang="en-GB" dirty="0">
                <a:latin typeface="Calibri" panose="020F0502020204030204" pitchFamily="34" charset="0"/>
                <a:cs typeface="Calibri" panose="020F0502020204030204" pitchFamily="34" charset="0"/>
              </a:rPr>
              <a:t>Prestatievermogen, situational awareness</a:t>
            </a:r>
            <a:endParaRPr lang="en-GB" dirty="0"/>
          </a:p>
          <a:p>
            <a:endParaRPr lang="en-US" dirty="0"/>
          </a:p>
          <a:p>
            <a:pPr marL="0" indent="0" eaLnBrk="1" hangingPunct="1">
              <a:spcBef>
                <a:spcPct val="0"/>
              </a:spcBef>
              <a:buFont typeface="Wingdings" panose="05000000000000000000" pitchFamily="2" charset="2"/>
              <a:buNone/>
              <a:defRPr/>
            </a:pPr>
            <a:endParaRPr lang="en-GB" altLang="nl-NL" dirty="0"/>
          </a:p>
        </p:txBody>
      </p:sp>
    </p:spTree>
    <p:extLst>
      <p:ext uri="{BB962C8B-B14F-4D97-AF65-F5344CB8AC3E}">
        <p14:creationId xmlns:p14="http://schemas.microsoft.com/office/powerpoint/2010/main" val="1105022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2</a:t>
            </a:fld>
            <a:endParaRPr lang="nl-NL" dirty="0"/>
          </a:p>
        </p:txBody>
      </p:sp>
    </p:spTree>
    <p:extLst>
      <p:ext uri="{BB962C8B-B14F-4D97-AF65-F5344CB8AC3E}">
        <p14:creationId xmlns:p14="http://schemas.microsoft.com/office/powerpoint/2010/main" val="100895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altLang="nl-NL"/>
              <a:t>After flights crossing a limited number of time-zones (&lt;3 hours), longer layovers usually facilitate better recovery. For example, a 72h layover provides more opportunity for recuperation than a 32h layover, which in turn provides more recovery than a 24h layover. The benefit of longer layovers is that crew have more flexibility to sleep when they feel tired and/or to use the sleep timing strategy that they know is most effective for them. Longer layovers also provide a ‘second chance’ for sleep, meaning if crew have difficulty sleeping on the first 24h of the layover there is second opportunity, or possibly more opportunities, for sleep. </a:t>
            </a:r>
          </a:p>
          <a:p>
            <a:pPr>
              <a:defRPr/>
            </a:pPr>
            <a:r>
              <a:rPr lang="en-GB" altLang="nl-NL"/>
              <a:t>After multiple time-zones have been crossed, the benefits of longer layovers (&gt;24h) become less apparent. Crossing multiple-time zones causes a misalignment between the timing of sleep/wake and circadian rhythms2, and as a result sleep is often not optimal (reduced duration and quality). On longer layovers crew are exposed to sub-optimal sleep for an extended period of time, which may result in a cumulative sleep debt. </a:t>
            </a:r>
          </a:p>
          <a:p>
            <a:pPr>
              <a:defRPr/>
            </a:pPr>
            <a:r>
              <a:rPr lang="en-GB" altLang="nl-NL"/>
              <a:t>Research comparing ‘long’ and ‘short’ layover durations after crew have crossed multiple time-zones has found conflicting findings. For example, a study of 19 Qantas pilots operating between Australia and Los Angeles with a 62h or 19h layover, found that compared to the longer layover, on the shorter layover crew had significantly slower response times prior to the return flight3. In contrast, an Air New Zealand study found that increasing layover duration from 1 to 2 days on a trip between Auckland and Los Angeles did not improve measures of sleep sleepiness or reaction time4 </a:t>
            </a:r>
          </a:p>
          <a:p>
            <a:pPr>
              <a:defRPr/>
            </a:pPr>
            <a:r>
              <a:rPr lang="en-GB" altLang="nl-NL"/>
              <a:t>There are a range of interacting factors that act to determine what the preferable layover duration might be for a specific trip. The factors include flight timing, flight duration, duration of the layover, hotel quality, in-flight rest-facilities, crew complement, pilot preferences, social factors and pilot demographics. </a:t>
            </a:r>
            <a:endParaRPr lang="en-GB" altLang="nl-NL" dirty="0"/>
          </a:p>
        </p:txBody>
      </p:sp>
      <p:sp>
        <p:nvSpPr>
          <p:cNvPr id="4" name="Slide Number Placeholder 3"/>
          <p:cNvSpPr>
            <a:spLocks noGrp="1"/>
          </p:cNvSpPr>
          <p:nvPr>
            <p:ph type="sldNum" sz="quarter" idx="5"/>
          </p:nvPr>
        </p:nvSpPr>
        <p:spPr/>
        <p:txBody>
          <a:bodyPr/>
          <a:lstStyle/>
          <a:p>
            <a:fld id="{0EDA0DF2-1824-4575-A17A-F4134FACA6EE}" type="slidenum">
              <a:rPr lang="en-GB" smtClean="0"/>
              <a:t>26</a:t>
            </a:fld>
            <a:endParaRPr lang="en-GB" dirty="0"/>
          </a:p>
        </p:txBody>
      </p:sp>
    </p:spTree>
    <p:extLst>
      <p:ext uri="{BB962C8B-B14F-4D97-AF65-F5344CB8AC3E}">
        <p14:creationId xmlns:p14="http://schemas.microsoft.com/office/powerpoint/2010/main" val="21717106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00" dirty="0"/>
              <a:t>Eligible airlines selected based on</a:t>
            </a:r>
          </a:p>
          <a:p>
            <a:pPr lvl="1"/>
            <a:r>
              <a:rPr lang="en-US" sz="1500" dirty="0"/>
              <a:t>Size, geographical region, transport type</a:t>
            </a:r>
          </a:p>
          <a:p>
            <a:pPr lvl="1"/>
            <a:r>
              <a:rPr lang="en-US" sz="1500" dirty="0"/>
              <a:t>Actual flown schedules &amp; willingness to participate</a:t>
            </a:r>
          </a:p>
          <a:p>
            <a:r>
              <a:rPr lang="en-US" sz="1500" dirty="0"/>
              <a:t>Aim for high quality data and within subject analysis</a:t>
            </a:r>
          </a:p>
          <a:p>
            <a:pPr lvl="1"/>
            <a:r>
              <a:rPr lang="en-US" sz="1500" dirty="0"/>
              <a:t>Tailored procedure per airline</a:t>
            </a:r>
          </a:p>
          <a:p>
            <a:pPr lvl="1"/>
            <a:r>
              <a:rPr lang="en-US" sz="1500" dirty="0"/>
              <a:t>Dedicated measurement equipment</a:t>
            </a:r>
          </a:p>
          <a:p>
            <a:pPr lvl="1"/>
            <a:r>
              <a:rPr lang="en-US" sz="1500" dirty="0"/>
              <a:t>Data collection over consecutive duty days, for 2-4 weeks</a:t>
            </a:r>
          </a:p>
          <a:p>
            <a:pPr lvl="1"/>
            <a:r>
              <a:rPr lang="en-US" sz="1500" dirty="0"/>
              <a:t>Real-time data monitoring and personal contact </a:t>
            </a:r>
          </a:p>
          <a:p>
            <a:endParaRPr lang="nl-NL" dirty="0">
              <a:solidFill>
                <a:srgbClr val="FF0000"/>
              </a:solidFill>
            </a:endParaRPr>
          </a:p>
        </p:txBody>
      </p:sp>
      <p:sp>
        <p:nvSpPr>
          <p:cNvPr id="4" name="Slide Number Placeholder 3"/>
          <p:cNvSpPr>
            <a:spLocks noGrp="1"/>
          </p:cNvSpPr>
          <p:nvPr>
            <p:ph type="sldNum" sz="quarter" idx="5"/>
          </p:nvPr>
        </p:nvSpPr>
        <p:spPr/>
        <p:txBody>
          <a:bodyPr/>
          <a:lstStyle/>
          <a:p>
            <a:fld id="{0EDA0DF2-1824-4575-A17A-F4134FACA6EE}" type="slidenum">
              <a:rPr lang="nl-NL" smtClean="0"/>
              <a:t>28</a:t>
            </a:fld>
            <a:endParaRPr lang="nl-NL" dirty="0"/>
          </a:p>
        </p:txBody>
      </p:sp>
    </p:spTree>
    <p:extLst>
      <p:ext uri="{BB962C8B-B14F-4D97-AF65-F5344CB8AC3E}">
        <p14:creationId xmlns:p14="http://schemas.microsoft.com/office/powerpoint/2010/main" val="744560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robability (relative frequency) of high fatigue (KSS≥7) at last </a:t>
            </a:r>
            <a:r>
              <a:rPr lang="en-US" sz="1200" dirty="0" err="1"/>
              <a:t>ToD</a:t>
            </a:r>
            <a:r>
              <a:rPr lang="en-US" sz="1200" dirty="0"/>
              <a:t> per FDP of interest</a:t>
            </a:r>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29</a:t>
            </a:fld>
            <a:endParaRPr lang="nl-NL" dirty="0"/>
          </a:p>
        </p:txBody>
      </p:sp>
    </p:spTree>
    <p:extLst>
      <p:ext uri="{BB962C8B-B14F-4D97-AF65-F5344CB8AC3E}">
        <p14:creationId xmlns:p14="http://schemas.microsoft.com/office/powerpoint/2010/main" val="428222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dirty="0">
                <a:latin typeface="Calibri (Body)"/>
              </a:rPr>
              <a:t>A</a:t>
            </a:r>
          </a:p>
          <a:p>
            <a:pPr marL="0" indent="0">
              <a:buFont typeface="Arial" panose="020B0604020202020204" pitchFamily="34" charset="0"/>
              <a:buNone/>
            </a:pPr>
            <a:endParaRPr lang="en-GB" sz="1200" dirty="0">
              <a:latin typeface="Calibri (Body)"/>
            </a:endParaRPr>
          </a:p>
          <a:p>
            <a:pPr marL="285750" indent="-285750">
              <a:buFont typeface="Arial" panose="020B0604020202020204" pitchFamily="34" charset="0"/>
              <a:buChar char="•"/>
            </a:pPr>
            <a:r>
              <a:rPr lang="en-GB" sz="1200" dirty="0">
                <a:latin typeface="Calibri (Body)"/>
              </a:rPr>
              <a:t>If we focus on the data collection the following was conducted</a:t>
            </a:r>
          </a:p>
          <a:p>
            <a:pPr marL="742950" lvl="1" indent="-285750">
              <a:buFont typeface="Arial" panose="020B0604020202020204" pitchFamily="34" charset="0"/>
              <a:buChar char="•"/>
            </a:pPr>
            <a:r>
              <a:rPr lang="en-GB" sz="1200" dirty="0">
                <a:latin typeface="Calibri (Body)"/>
              </a:rPr>
              <a:t>Analysis of actual rosters from a representative sample of ATSPs by two BMMs and an expert analysis</a:t>
            </a:r>
          </a:p>
          <a:p>
            <a:pPr marL="285750" indent="-285750">
              <a:buFont typeface="Arial" panose="020B0604020202020204" pitchFamily="34" charset="0"/>
              <a:buChar char="•"/>
            </a:pPr>
            <a:r>
              <a:rPr lang="en-GB" sz="1200" dirty="0">
                <a:latin typeface="Calibri (Body)"/>
              </a:rPr>
              <a:t>Measurement campaign with ATCOs at six ATSPs for at least 10 consecutive days to collect data on fatigue, sleep and workload</a:t>
            </a:r>
          </a:p>
          <a:p>
            <a:pPr marL="742950" lvl="1" indent="-285750">
              <a:buFont typeface="Arial" panose="020B0604020202020204" pitchFamily="34" charset="0"/>
              <a:buChar char="•"/>
            </a:pPr>
            <a:r>
              <a:rPr lang="en-GB" sz="1200" dirty="0">
                <a:latin typeface="Calibri (Body)"/>
              </a:rPr>
              <a:t>Please visit the parallel session ‘</a:t>
            </a:r>
            <a:r>
              <a:rPr lang="en-GB" sz="1200" dirty="0" err="1">
                <a:latin typeface="Calibri (Body)"/>
              </a:rPr>
              <a:t>Fatigue&amp;Workload</a:t>
            </a:r>
            <a:r>
              <a:rPr lang="en-GB" sz="1200" dirty="0">
                <a:latin typeface="Calibri (Body)"/>
              </a:rPr>
              <a:t>’ and the presentation by Pauline </a:t>
            </a:r>
            <a:r>
              <a:rPr lang="en-GB" sz="1200" dirty="0" err="1">
                <a:latin typeface="Calibri (Body)"/>
              </a:rPr>
              <a:t>Vrancken</a:t>
            </a:r>
            <a:endParaRPr lang="en-GB" sz="1200" dirty="0">
              <a:latin typeface="Calibri (Body)"/>
            </a:endParaRPr>
          </a:p>
          <a:p>
            <a:pPr marL="285750" indent="-285750">
              <a:buFont typeface="Arial" panose="020B0604020202020204" pitchFamily="34" charset="0"/>
              <a:buChar char="•"/>
            </a:pPr>
            <a:r>
              <a:rPr lang="en-GB" sz="1200" dirty="0">
                <a:latin typeface="Calibri (Body)"/>
              </a:rPr>
              <a:t>Validation of subjective fatigue ratings with objective measurements, and assessment of the feasibility of such measurements during the ATC operation.</a:t>
            </a:r>
            <a:endParaRPr lang="nl-NL" sz="1200" dirty="0">
              <a:latin typeface="Calibri (Body)"/>
            </a:endParaRPr>
          </a:p>
          <a:p>
            <a:pPr marL="285750" indent="-285750">
              <a:buFont typeface="Arial" panose="020B0604020202020204" pitchFamily="34" charset="0"/>
              <a:buChar char="•"/>
            </a:pPr>
            <a:r>
              <a:rPr lang="en-GB" sz="1200" dirty="0">
                <a:latin typeface="Calibri (Body)"/>
              </a:rPr>
              <a:t>In </a:t>
            </a:r>
            <a:r>
              <a:rPr lang="en-GB" sz="1200" b="1" dirty="0">
                <a:latin typeface="Calibri (Body)"/>
              </a:rPr>
              <a:t>five</a:t>
            </a:r>
            <a:r>
              <a:rPr lang="en-GB" sz="1200" dirty="0">
                <a:latin typeface="Calibri (Body)"/>
              </a:rPr>
              <a:t> European ATSPs, objective measurements were conducted to validate subjective fatigue measurements.</a:t>
            </a:r>
            <a:endParaRPr lang="nl-NL" sz="1200" dirty="0">
              <a:latin typeface="Calibri (Body)"/>
            </a:endParaRPr>
          </a:p>
          <a:p>
            <a:pPr marL="285750" indent="-285750">
              <a:buFont typeface="Arial" panose="020B0604020202020204" pitchFamily="34" charset="0"/>
              <a:buChar char="•"/>
            </a:pPr>
            <a:r>
              <a:rPr lang="en-GB" sz="1200" dirty="0">
                <a:latin typeface="Calibri (Body)"/>
              </a:rPr>
              <a:t>In total, </a:t>
            </a:r>
            <a:r>
              <a:rPr lang="en-GB" sz="1200" b="1" dirty="0">
                <a:latin typeface="Calibri (Body)"/>
              </a:rPr>
              <a:t>20 ATCOs </a:t>
            </a:r>
            <a:r>
              <a:rPr lang="en-GB" sz="1200" dirty="0">
                <a:latin typeface="Calibri (Body)"/>
              </a:rPr>
              <a:t>participated during shifts that were determined as ‘fatigue hotspot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3E8606-9AE7-4F43-9784-20CB03CC8D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872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Moeilijke weersomstandigheden: Eentonige verkeerssituaties: Slaaptekort:</a:t>
            </a:r>
          </a:p>
        </p:txBody>
      </p:sp>
      <p:sp>
        <p:nvSpPr>
          <p:cNvPr id="4" name="Slide Number Placeholder 3"/>
          <p:cNvSpPr>
            <a:spLocks noGrp="1"/>
          </p:cNvSpPr>
          <p:nvPr>
            <p:ph type="sldNum" sz="quarter" idx="5"/>
          </p:nvPr>
        </p:nvSpPr>
        <p:spPr/>
        <p:txBody>
          <a:bodyPr/>
          <a:lstStyle/>
          <a:p>
            <a:fld id="{0EDA0DF2-1824-4575-A17A-F4134FACA6EE}" type="slidenum">
              <a:rPr lang="nl-NL" smtClean="0"/>
              <a:t>31</a:t>
            </a:fld>
            <a:endParaRPr lang="nl-NL" dirty="0"/>
          </a:p>
        </p:txBody>
      </p:sp>
    </p:spTree>
    <p:extLst>
      <p:ext uri="{BB962C8B-B14F-4D97-AF65-F5344CB8AC3E}">
        <p14:creationId xmlns:p14="http://schemas.microsoft.com/office/powerpoint/2010/main" val="4240768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Airline pilots are exposed to irregular and long working hours, as well as the crossing of time zones. </a:t>
            </a:r>
          </a:p>
          <a:p>
            <a:r>
              <a:rPr lang="en-GB" dirty="0"/>
              <a:t>Safety experts reckon that pilot fatigue contributes to 15-20% of fatal aviation accidents caused by human error. </a:t>
            </a:r>
            <a:r>
              <a:rPr lang="en-GB" baseline="0" dirty="0"/>
              <a:t>Focus on short term fatigue</a:t>
            </a:r>
          </a:p>
          <a:p>
            <a:pPr marL="171450" indent="-171450">
              <a:buFont typeface="Wingdings" pitchFamily="2" charset="2"/>
              <a:buChar char="Ø"/>
            </a:pPr>
            <a:r>
              <a:rPr lang="en-GB" dirty="0"/>
              <a:t>Fatigue risk managements</a:t>
            </a:r>
            <a:r>
              <a:rPr lang="en-GB" baseline="0" dirty="0"/>
              <a:t> systems&gt; hazard control</a:t>
            </a:r>
          </a:p>
          <a:p>
            <a:pPr marL="171450" indent="-171450">
              <a:buFont typeface="Wingdings" pitchFamily="2" charset="2"/>
              <a:buChar char="Ø"/>
            </a:pPr>
            <a:endParaRPr lang="en-GB" baseline="0" dirty="0"/>
          </a:p>
          <a:p>
            <a:pPr marL="171450" indent="-171450">
              <a:buFont typeface="Wingdings" pitchFamily="2" charset="2"/>
              <a:buChar char="Ø"/>
            </a:pPr>
            <a:endParaRPr lang="en-GB" baseline="0" dirty="0"/>
          </a:p>
          <a:p>
            <a:r>
              <a:rPr lang="en-GB" dirty="0"/>
              <a:t>FRMS</a:t>
            </a:r>
          </a:p>
          <a:p>
            <a:r>
              <a:rPr lang="en-GB" dirty="0"/>
              <a:t>Fatigue measurement</a:t>
            </a:r>
          </a:p>
          <a:p>
            <a:r>
              <a:rPr lang="en-GB" dirty="0"/>
              <a:t>Fatigue mitigation</a:t>
            </a:r>
          </a:p>
          <a:p>
            <a:endParaRPr lang="en-GB" dirty="0"/>
          </a:p>
          <a:p>
            <a:r>
              <a:rPr lang="en-GB" dirty="0"/>
              <a:t>&gt; </a:t>
            </a:r>
            <a:r>
              <a:rPr lang="en-GB" dirty="0" err="1"/>
              <a:t>Aanvullen</a:t>
            </a:r>
            <a:r>
              <a:rPr lang="en-GB" dirty="0"/>
              <a:t> met </a:t>
            </a:r>
            <a:r>
              <a:rPr lang="en-GB" dirty="0" err="1"/>
              <a:t>onderhoud</a:t>
            </a:r>
            <a:endParaRPr lang="en-GB" dirty="0"/>
          </a:p>
          <a:p>
            <a:pPr marL="0" indent="0">
              <a:buFont typeface="Wingdings" pitchFamily="2" charset="2"/>
              <a:buNone/>
            </a:pPr>
            <a:endParaRPr lang="en-GB" dirty="0"/>
          </a:p>
        </p:txBody>
      </p:sp>
      <p:sp>
        <p:nvSpPr>
          <p:cNvPr id="4" name="Tijdelijke aanduiding voor dianummer 3"/>
          <p:cNvSpPr>
            <a:spLocks noGrp="1"/>
          </p:cNvSpPr>
          <p:nvPr>
            <p:ph type="sldNum" sz="quarter" idx="10"/>
          </p:nvPr>
        </p:nvSpPr>
        <p:spPr/>
        <p:txBody>
          <a:bodyPr/>
          <a:lstStyle/>
          <a:p>
            <a:fld id="{928D71F2-1D40-4A4F-9FE5-87520ABE6407}" type="slidenum">
              <a:rPr lang="en-GB" smtClean="0"/>
              <a:t>32</a:t>
            </a:fld>
            <a:endParaRPr lang="en-GB" dirty="0"/>
          </a:p>
        </p:txBody>
      </p:sp>
    </p:spTree>
    <p:extLst>
      <p:ext uri="{BB962C8B-B14F-4D97-AF65-F5344CB8AC3E}">
        <p14:creationId xmlns:p14="http://schemas.microsoft.com/office/powerpoint/2010/main" val="22269336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Airline pilots are exposed to irregular and long working hours, as well as the crossing of time zones. </a:t>
            </a:r>
          </a:p>
          <a:p>
            <a:r>
              <a:rPr lang="en-GB" dirty="0"/>
              <a:t>Safety experts reckon that pilot fatigue contributes to 15-20% of fatal aviation accidents caused by human error. </a:t>
            </a:r>
            <a:r>
              <a:rPr lang="en-GB" baseline="0" dirty="0"/>
              <a:t>Focus on short term fatigue</a:t>
            </a:r>
          </a:p>
          <a:p>
            <a:pPr marL="171450" indent="-171450">
              <a:buFont typeface="Wingdings" pitchFamily="2" charset="2"/>
              <a:buChar char="Ø"/>
            </a:pPr>
            <a:r>
              <a:rPr lang="en-GB" dirty="0"/>
              <a:t>Fatigue risk managements</a:t>
            </a:r>
            <a:r>
              <a:rPr lang="en-GB" baseline="0" dirty="0"/>
              <a:t> systems&gt; hazard control</a:t>
            </a:r>
          </a:p>
          <a:p>
            <a:pPr marL="171450" indent="-171450">
              <a:buFont typeface="Wingdings" pitchFamily="2" charset="2"/>
              <a:buChar char="Ø"/>
            </a:pPr>
            <a:endParaRPr lang="en-GB" baseline="0" dirty="0"/>
          </a:p>
          <a:p>
            <a:pPr marL="171450" indent="-171450">
              <a:buFont typeface="Wingdings" pitchFamily="2" charset="2"/>
              <a:buChar char="Ø"/>
            </a:pPr>
            <a:endParaRPr lang="en-GB" baseline="0" dirty="0"/>
          </a:p>
          <a:p>
            <a:r>
              <a:rPr lang="en-GB" dirty="0"/>
              <a:t>FRMS</a:t>
            </a:r>
          </a:p>
          <a:p>
            <a:r>
              <a:rPr lang="en-GB" dirty="0"/>
              <a:t>Fatigue measurement</a:t>
            </a:r>
          </a:p>
          <a:p>
            <a:r>
              <a:rPr lang="en-GB" dirty="0"/>
              <a:t>Fatigue mitigation</a:t>
            </a:r>
          </a:p>
          <a:p>
            <a:endParaRPr lang="en-GB" dirty="0"/>
          </a:p>
          <a:p>
            <a:r>
              <a:rPr lang="en-GB" dirty="0"/>
              <a:t>&gt; </a:t>
            </a:r>
            <a:r>
              <a:rPr lang="en-GB" dirty="0" err="1"/>
              <a:t>Aanvullen</a:t>
            </a:r>
            <a:r>
              <a:rPr lang="en-GB" dirty="0"/>
              <a:t> met </a:t>
            </a:r>
            <a:r>
              <a:rPr lang="en-GB" dirty="0" err="1"/>
              <a:t>onderhoud</a:t>
            </a:r>
            <a:endParaRPr lang="en-GB" dirty="0"/>
          </a:p>
          <a:p>
            <a:pPr marL="0" indent="0">
              <a:buFont typeface="Wingdings" pitchFamily="2" charset="2"/>
              <a:buNone/>
            </a:pPr>
            <a:endParaRPr lang="en-GB" dirty="0"/>
          </a:p>
        </p:txBody>
      </p:sp>
      <p:sp>
        <p:nvSpPr>
          <p:cNvPr id="4" name="Tijdelijke aanduiding voor dianummer 3"/>
          <p:cNvSpPr>
            <a:spLocks noGrp="1"/>
          </p:cNvSpPr>
          <p:nvPr>
            <p:ph type="sldNum" sz="quarter" idx="10"/>
          </p:nvPr>
        </p:nvSpPr>
        <p:spPr/>
        <p:txBody>
          <a:bodyPr/>
          <a:lstStyle/>
          <a:p>
            <a:fld id="{928D71F2-1D40-4A4F-9FE5-87520ABE6407}" type="slidenum">
              <a:rPr lang="en-GB" smtClean="0"/>
              <a:t>33</a:t>
            </a:fld>
            <a:endParaRPr lang="en-GB" dirty="0"/>
          </a:p>
        </p:txBody>
      </p:sp>
    </p:spTree>
    <p:extLst>
      <p:ext uri="{BB962C8B-B14F-4D97-AF65-F5344CB8AC3E}">
        <p14:creationId xmlns:p14="http://schemas.microsoft.com/office/powerpoint/2010/main" val="883636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vey results show mixed levels of wellbeing. Overall, around 42% of participants rated their physical health as only moderate or worse. Pilots reported slightly more positive results, with two-thirds describing their health as good or very good. For cabin crew, however, the picture was less encouraging: more than half rated their health as moderate to poor, highlighting their particular vulnerability under current working conditions.</a:t>
            </a:r>
            <a:endParaRPr lang="en-GB" dirty="0">
              <a:solidFill>
                <a:srgbClr val="1E1E1E"/>
              </a:solidFill>
              <a:latin typeface="Open Sans" panose="020B0606030504020204" pitchFamily="34" charset="0"/>
            </a:endParaRPr>
          </a:p>
          <a:p>
            <a:endParaRPr lang="en-GB" dirty="0">
              <a:solidFill>
                <a:srgbClr val="1E1E1E"/>
              </a:solidFill>
              <a:latin typeface="Open Sans" panose="020B0606030504020204" pitchFamily="34" charset="0"/>
            </a:endParaRPr>
          </a:p>
          <a:p>
            <a:r>
              <a:rPr lang="en-US" dirty="0"/>
              <a:t>The study found clear differences in mental health depending on the type of airline. Crew at network and cargo airlines reported the best wellbeing, while those at low-fare carriers showed poorer results. The most concerning outcomes came from ACMI operators, where crew reported the lowest levels of mental health. Overall, the type of airline is a strong predictor of wellbeing, highlighting how different business models impact the daily lives and health of crew members</a:t>
            </a:r>
            <a:endParaRPr lang="nl-NL" dirty="0"/>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34</a:t>
            </a:fld>
            <a:endParaRPr lang="nl-NL" dirty="0"/>
          </a:p>
        </p:txBody>
      </p:sp>
    </p:spTree>
    <p:extLst>
      <p:ext uri="{BB962C8B-B14F-4D97-AF65-F5344CB8AC3E}">
        <p14:creationId xmlns:p14="http://schemas.microsoft.com/office/powerpoint/2010/main" val="11935770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m </a:t>
            </a:r>
            <a:r>
              <a:rPr lang="en-GB" dirty="0" err="1"/>
              <a:t>te</a:t>
            </a:r>
            <a:r>
              <a:rPr lang="en-GB" dirty="0"/>
              <a:t> </a:t>
            </a:r>
            <a:r>
              <a:rPr lang="en-GB" dirty="0" err="1"/>
              <a:t>beginnen</a:t>
            </a:r>
            <a:r>
              <a:rPr lang="en-GB" dirty="0"/>
              <a:t> </a:t>
            </a:r>
            <a:r>
              <a:rPr lang="en-GB" dirty="0" err="1"/>
              <a:t>kunnen</a:t>
            </a:r>
            <a:r>
              <a:rPr lang="en-GB" dirty="0"/>
              <a:t> we </a:t>
            </a:r>
            <a:r>
              <a:rPr lang="en-GB" dirty="0" err="1"/>
              <a:t>stellen</a:t>
            </a:r>
            <a:r>
              <a:rPr lang="en-GB" dirty="0"/>
              <a:t> </a:t>
            </a:r>
            <a:r>
              <a:rPr lang="en-GB" dirty="0" err="1"/>
              <a:t>dat</a:t>
            </a:r>
            <a:r>
              <a:rPr lang="en-GB" dirty="0"/>
              <a:t> HF </a:t>
            </a:r>
            <a:r>
              <a:rPr lang="en-GB" dirty="0" err="1"/>
              <a:t>gerelateerde</a:t>
            </a:r>
            <a:r>
              <a:rPr lang="en-GB" dirty="0"/>
              <a:t> </a:t>
            </a:r>
            <a:r>
              <a:rPr lang="en-GB" dirty="0" err="1"/>
              <a:t>veranderingen</a:t>
            </a:r>
            <a:r>
              <a:rPr lang="en-GB" dirty="0"/>
              <a:t> </a:t>
            </a:r>
            <a:r>
              <a:rPr lang="en-GB" dirty="0" err="1"/>
              <a:t>en</a:t>
            </a:r>
            <a:r>
              <a:rPr lang="en-GB" dirty="0"/>
              <a:t> trends </a:t>
            </a:r>
            <a:r>
              <a:rPr lang="en-GB" dirty="0" err="1"/>
              <a:t>veel</a:t>
            </a:r>
            <a:r>
              <a:rPr lang="en-GB" dirty="0"/>
              <a:t> in het </a:t>
            </a:r>
            <a:r>
              <a:rPr lang="en-GB" dirty="0" err="1"/>
              <a:t>nieuws</a:t>
            </a:r>
            <a:r>
              <a:rPr lang="en-GB" dirty="0"/>
              <a:t> </a:t>
            </a:r>
            <a:r>
              <a:rPr lang="en-GB" dirty="0" err="1"/>
              <a:t>zijn</a:t>
            </a:r>
            <a:r>
              <a:rPr lang="en-GB" dirty="0"/>
              <a:t> </a:t>
            </a:r>
            <a:r>
              <a:rPr lang="en-GB" dirty="0" err="1"/>
              <a:t>gekomen</a:t>
            </a:r>
            <a:r>
              <a:rPr lang="en-GB" dirty="0"/>
              <a:t>. Of het nu </a:t>
            </a:r>
            <a:r>
              <a:rPr lang="en-GB" dirty="0" err="1"/>
              <a:t>gaat</a:t>
            </a:r>
            <a:r>
              <a:rPr lang="en-GB" dirty="0"/>
              <a:t> om minder </a:t>
            </a:r>
            <a:r>
              <a:rPr lang="en-GB" dirty="0" err="1"/>
              <a:t>vliegers</a:t>
            </a:r>
            <a:r>
              <a:rPr lang="en-GB" dirty="0"/>
              <a:t> in de cockpit, </a:t>
            </a:r>
            <a:r>
              <a:rPr lang="en-GB" dirty="0" err="1"/>
              <a:t>niemand</a:t>
            </a:r>
            <a:r>
              <a:rPr lang="en-GB" dirty="0"/>
              <a:t> in de cockpit (</a:t>
            </a:r>
            <a:r>
              <a:rPr lang="en-GB" dirty="0" err="1"/>
              <a:t>omdat</a:t>
            </a:r>
            <a:r>
              <a:rPr lang="en-GB" dirty="0"/>
              <a:t> </a:t>
            </a:r>
            <a:r>
              <a:rPr lang="en-GB" dirty="0" err="1"/>
              <a:t>dat</a:t>
            </a:r>
            <a:r>
              <a:rPr lang="en-GB" dirty="0"/>
              <a:t> </a:t>
            </a:r>
            <a:r>
              <a:rPr lang="en-GB" dirty="0" err="1"/>
              <a:t>wordt</a:t>
            </a:r>
            <a:r>
              <a:rPr lang="en-GB" dirty="0"/>
              <a:t> </a:t>
            </a:r>
            <a:r>
              <a:rPr lang="en-GB" dirty="0" err="1"/>
              <a:t>overgenomen</a:t>
            </a:r>
            <a:r>
              <a:rPr lang="en-GB" dirty="0"/>
              <a:t> door </a:t>
            </a:r>
            <a:r>
              <a:rPr lang="en-GB" dirty="0" err="1"/>
              <a:t>automatisering</a:t>
            </a:r>
            <a:r>
              <a:rPr lang="en-GB" dirty="0"/>
              <a:t>/AI), of het </a:t>
            </a:r>
            <a:r>
              <a:rPr lang="en-GB" dirty="0" err="1"/>
              <a:t>nijpende</a:t>
            </a:r>
            <a:r>
              <a:rPr lang="en-GB" dirty="0"/>
              <a:t> </a:t>
            </a:r>
            <a:r>
              <a:rPr lang="en-GB" dirty="0" err="1"/>
              <a:t>tekort</a:t>
            </a:r>
            <a:r>
              <a:rPr lang="en-GB" dirty="0"/>
              <a:t> </a:t>
            </a:r>
            <a:r>
              <a:rPr lang="en-GB" dirty="0" err="1"/>
              <a:t>aan</a:t>
            </a:r>
            <a:r>
              <a:rPr lang="en-GB" dirty="0"/>
              <a:t> </a:t>
            </a:r>
            <a:r>
              <a:rPr lang="en-GB" dirty="0" err="1"/>
              <a:t>luchtvaart</a:t>
            </a:r>
            <a:r>
              <a:rPr lang="en-GB" dirty="0"/>
              <a:t> operators.. Aan </a:t>
            </a:r>
            <a:r>
              <a:rPr lang="en-GB" dirty="0" err="1"/>
              <a:t>onderwerpen</a:t>
            </a:r>
            <a:r>
              <a:rPr lang="en-GB" dirty="0"/>
              <a:t> </a:t>
            </a:r>
            <a:r>
              <a:rPr lang="en-GB" dirty="0" err="1"/>
              <a:t>geen</a:t>
            </a:r>
            <a:r>
              <a:rPr lang="en-GB" dirty="0"/>
              <a:t> </a:t>
            </a:r>
            <a:r>
              <a:rPr lang="en-GB" dirty="0" err="1"/>
              <a:t>tekort</a:t>
            </a:r>
            <a:r>
              <a:rPr lang="en-GB" dirty="0"/>
              <a:t>.</a:t>
            </a:r>
          </a:p>
          <a:p>
            <a:endParaRPr lang="nl-NL"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endParaRPr lang="nl-NL" b="1" dirty="0"/>
          </a:p>
        </p:txBody>
      </p:sp>
      <p:sp>
        <p:nvSpPr>
          <p:cNvPr id="4" name="Slide Number Placeholder 3"/>
          <p:cNvSpPr>
            <a:spLocks noGrp="1"/>
          </p:cNvSpPr>
          <p:nvPr>
            <p:ph type="sldNum" sz="quarter" idx="5"/>
          </p:nvPr>
        </p:nvSpPr>
        <p:spPr/>
        <p:txBody>
          <a:bodyPr/>
          <a:lstStyle/>
          <a:p>
            <a:fld id="{0EDA0DF2-1824-4575-A17A-F4134FACA6EE}" type="slidenum">
              <a:rPr lang="nl-NL" smtClean="0"/>
              <a:t>37</a:t>
            </a:fld>
            <a:endParaRPr lang="nl-NL" dirty="0"/>
          </a:p>
        </p:txBody>
      </p:sp>
    </p:spTree>
    <p:extLst>
      <p:ext uri="{BB962C8B-B14F-4D97-AF65-F5344CB8AC3E}">
        <p14:creationId xmlns:p14="http://schemas.microsoft.com/office/powerpoint/2010/main" val="29782669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Je kunt natuurlijk vele </a:t>
            </a:r>
            <a:r>
              <a:rPr lang="nl-NL" dirty="0" err="1"/>
              <a:t>categorieen</a:t>
            </a:r>
            <a:r>
              <a:rPr lang="nl-NL" dirty="0"/>
              <a:t> samenstellen maar in grote lijnen zou je kunnen zeggen dat er grofweg 2 types uitdagingen spelen</a:t>
            </a:r>
          </a:p>
          <a:p>
            <a:r>
              <a:rPr lang="nl-NL" dirty="0"/>
              <a:t>1. Aan de ene kant is er sprake van vergrijzing, en personeelstekort, wat een neiging met zich meebrengt om mensen langer door te laten werken, dan wel hetzelfde werk te laten doen met minder mensen. </a:t>
            </a:r>
          </a:p>
          <a:p>
            <a:r>
              <a:rPr lang="nl-NL" dirty="0"/>
              <a:t>2. Aan de andere kant hebben we te maken met de enorme vlucht die automatisering en AI heeft genomen, en de integratie daarvan in de alledaagse werkzaamheden.</a:t>
            </a:r>
          </a:p>
          <a:p>
            <a:endParaRPr lang="nl-NL" dirty="0"/>
          </a:p>
          <a:p>
            <a:r>
              <a:rPr lang="nl-NL" dirty="0"/>
              <a:t>De uitdaging hierbij is om de mens (de operator – jong en oud) zijn/haar werk (alleen of ondersteund door automatisering) zo veilig, efficiënt en gezond mogelijk uit te laten voeren onder verschillende omstandigheden (hoog/lage werkdruk).</a:t>
            </a:r>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Om deze vraagstukken te beantwoorden hebben we als human factors onderzoekers gefocust op meerdere kennisgebieden, waarvan ik er graag enkele kort wil toelichten.</a:t>
            </a:r>
          </a:p>
          <a:p>
            <a:endParaRPr lang="nl-NL" dirty="0"/>
          </a:p>
          <a:p>
            <a:endParaRPr lang="nl-NL" dirty="0"/>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38</a:t>
            </a:fld>
            <a:endParaRPr lang="nl-NL" dirty="0"/>
          </a:p>
        </p:txBody>
      </p:sp>
    </p:spTree>
    <p:extLst>
      <p:ext uri="{BB962C8B-B14F-4D97-AF65-F5344CB8AC3E}">
        <p14:creationId xmlns:p14="http://schemas.microsoft.com/office/powerpoint/2010/main" val="2600717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Courier New" panose="02070309020205020404" pitchFamily="49" charset="0"/>
              <a:buNone/>
            </a:pPr>
            <a:r>
              <a:rPr lang="nl-NL" sz="1100" dirty="0">
                <a:effectLst/>
                <a:latin typeface="Calibri" panose="020F0502020204030204" pitchFamily="34" charset="0"/>
                <a:ea typeface="Calibri" panose="020F0502020204030204" pitchFamily="34" charset="0"/>
                <a:cs typeface="Times New Roman" panose="02020603050405020304" pitchFamily="18" charset="0"/>
              </a:rPr>
              <a:t>Tot slot zullen de implicaties voor de verzekeringsgeneeskunde aan bod komen.</a:t>
            </a:r>
          </a:p>
          <a:p>
            <a:pPr marL="1143000" lvl="2" indent="-228600">
              <a:buFont typeface="Wingdings" panose="05000000000000000000" pitchFamily="2" charset="2"/>
              <a:buChar char=""/>
            </a:pPr>
            <a:r>
              <a:rPr lang="nl-NL" sz="1100" dirty="0">
                <a:effectLst/>
                <a:latin typeface="Calibri" panose="020F0502020204030204" pitchFamily="34" charset="0"/>
                <a:ea typeface="Calibri" panose="020F0502020204030204" pitchFamily="34" charset="0"/>
                <a:cs typeface="Times New Roman" panose="02020603050405020304" pitchFamily="18" charset="0"/>
              </a:rPr>
              <a:t>Wat zouden we de VA er mee kunnen, waar moeten ze op letten</a:t>
            </a:r>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3</a:t>
            </a:fld>
            <a:endParaRPr lang="nl-NL" dirty="0"/>
          </a:p>
        </p:txBody>
      </p:sp>
    </p:spTree>
    <p:extLst>
      <p:ext uri="{BB962C8B-B14F-4D97-AF65-F5344CB8AC3E}">
        <p14:creationId xmlns:p14="http://schemas.microsoft.com/office/powerpoint/2010/main" val="838236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39</a:t>
            </a:fld>
            <a:endParaRPr lang="nl-NL" dirty="0"/>
          </a:p>
        </p:txBody>
      </p:sp>
    </p:spTree>
    <p:extLst>
      <p:ext uri="{BB962C8B-B14F-4D97-AF65-F5344CB8AC3E}">
        <p14:creationId xmlns:p14="http://schemas.microsoft.com/office/powerpoint/2010/main" val="8448561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i="1" noProof="0" dirty="0">
                <a:solidFill>
                  <a:schemeClr val="bg1"/>
                </a:solidFill>
              </a:rPr>
              <a:t>1. End Slide "Presentatie versi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i="1" noProof="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i="1" noProof="0" dirty="0">
                <a:solidFill>
                  <a:schemeClr val="bg1"/>
                </a:solidFill>
              </a:rPr>
              <a:t>Suggestie voor een afsluitende titel: </a:t>
            </a:r>
            <a:r>
              <a:rPr lang="en-US" sz="1200" i="1" noProof="0" dirty="0">
                <a:solidFill>
                  <a:schemeClr val="bg1"/>
                </a:solidFill>
              </a:rPr>
              <a:t>Thank you for your attention! / </a:t>
            </a:r>
            <a:r>
              <a:rPr lang="nl-NL" sz="1200" i="1" noProof="0" dirty="0">
                <a:solidFill>
                  <a:schemeClr val="bg1"/>
                </a:solidFill>
              </a:rPr>
              <a:t>Bedankt voor uw aandacht!</a:t>
            </a:r>
            <a:endParaRPr lang="nl-NL" sz="1200" i="1" dirty="0">
              <a:solidFill>
                <a:schemeClr val="bg1"/>
              </a:solidFill>
            </a:endParaRPr>
          </a:p>
        </p:txBody>
      </p:sp>
      <p:sp>
        <p:nvSpPr>
          <p:cNvPr id="4" name="Slide Number Placeholder 3"/>
          <p:cNvSpPr>
            <a:spLocks noGrp="1"/>
          </p:cNvSpPr>
          <p:nvPr>
            <p:ph type="sldNum" sz="quarter" idx="5"/>
          </p:nvPr>
        </p:nvSpPr>
        <p:spPr/>
        <p:txBody>
          <a:bodyPr/>
          <a:lstStyle/>
          <a:p>
            <a:fld id="{0EDA0DF2-1824-4575-A17A-F4134FACA6EE}" type="slidenum">
              <a:rPr lang="nl-NL" smtClean="0"/>
              <a:t>40</a:t>
            </a:fld>
            <a:endParaRPr lang="nl-NL" dirty="0"/>
          </a:p>
        </p:txBody>
      </p:sp>
    </p:spTree>
    <p:extLst>
      <p:ext uri="{BB962C8B-B14F-4D97-AF65-F5344CB8AC3E}">
        <p14:creationId xmlns:p14="http://schemas.microsoft.com/office/powerpoint/2010/main" val="34342733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i="1" noProof="0" dirty="0">
                <a:solidFill>
                  <a:schemeClr val="bg1"/>
                </a:solidFill>
              </a:rPr>
              <a:t>2. End Slide "Printversi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noProof="0" dirty="0">
              <a:solidFill>
                <a:schemeClr val="bg1"/>
              </a:solidFill>
            </a:endParaRPr>
          </a:p>
          <a:p>
            <a:r>
              <a:rPr lang="nl-NL" sz="1200" i="1" kern="1200" dirty="0">
                <a:solidFill>
                  <a:schemeClr val="tx1"/>
                </a:solidFill>
                <a:effectLst/>
                <a:latin typeface="+mn-lt"/>
                <a:ea typeface="+mn-ea"/>
                <a:cs typeface="+mn-cs"/>
              </a:rPr>
              <a:t>Als je geen gebruik wilt maken van het persoonlijke adresblok (rechtsonder), haal dan de lijn en de iconen weg!</a:t>
            </a: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EDA0DF2-1824-4575-A17A-F4134FACA6EE}" type="slidenum">
              <a:rPr lang="nl-NL" smtClean="0"/>
              <a:t>41</a:t>
            </a:fld>
            <a:endParaRPr lang="nl-NL" dirty="0"/>
          </a:p>
        </p:txBody>
      </p:sp>
    </p:spTree>
    <p:extLst>
      <p:ext uri="{BB962C8B-B14F-4D97-AF65-F5344CB8AC3E}">
        <p14:creationId xmlns:p14="http://schemas.microsoft.com/office/powerpoint/2010/main" val="3241742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eaLnBrk="1" hangingPunct="1">
              <a:spcBef>
                <a:spcPct val="0"/>
              </a:spcBef>
              <a:buFont typeface="+mj-lt"/>
              <a:buNone/>
            </a:pPr>
            <a:r>
              <a:rPr lang="en-US" altLang="nl-NL" dirty="0" err="1"/>
              <a:t>Geachte</a:t>
            </a:r>
            <a:r>
              <a:rPr lang="en-US" altLang="nl-NL" baseline="0" dirty="0"/>
              <a:t> </a:t>
            </a:r>
            <a:r>
              <a:rPr lang="en-US" altLang="nl-NL" baseline="0" dirty="0" err="1"/>
              <a:t>aanwezigen</a:t>
            </a:r>
            <a:r>
              <a:rPr lang="en-US" altLang="nl-NL" baseline="0" dirty="0"/>
              <a:t>. </a:t>
            </a:r>
            <a:r>
              <a:rPr lang="en-US" altLang="nl-NL" baseline="0" dirty="0" err="1"/>
              <a:t>Familie</a:t>
            </a:r>
            <a:r>
              <a:rPr lang="en-US" altLang="nl-NL" baseline="0" dirty="0"/>
              <a:t>, </a:t>
            </a:r>
            <a:r>
              <a:rPr lang="en-US" altLang="nl-NL" baseline="0" dirty="0" err="1"/>
              <a:t>vrienden</a:t>
            </a:r>
            <a:r>
              <a:rPr lang="en-US" altLang="nl-NL" baseline="0" dirty="0"/>
              <a:t>, </a:t>
            </a:r>
            <a:r>
              <a:rPr lang="en-US" altLang="nl-NL" baseline="0" dirty="0" err="1"/>
              <a:t>collega’s</a:t>
            </a:r>
            <a:r>
              <a:rPr lang="en-US" altLang="nl-NL" baseline="0" dirty="0"/>
              <a:t>,</a:t>
            </a:r>
            <a:endParaRPr lang="en-US" altLang="nl-NL" dirty="0"/>
          </a:p>
          <a:p>
            <a:pPr marL="0" indent="0" eaLnBrk="1" hangingPunct="1">
              <a:spcBef>
                <a:spcPct val="0"/>
              </a:spcBef>
              <a:buFont typeface="+mj-lt"/>
              <a:buNone/>
            </a:pPr>
            <a:r>
              <a:rPr lang="en-US" altLang="nl-NL" dirty="0" err="1"/>
              <a:t>Wij</a:t>
            </a:r>
            <a:r>
              <a:rPr lang="en-US" altLang="nl-NL" dirty="0"/>
              <a:t> </a:t>
            </a:r>
            <a:r>
              <a:rPr lang="en-US" altLang="nl-NL" dirty="0" err="1"/>
              <a:t>maken</a:t>
            </a:r>
            <a:r>
              <a:rPr lang="en-US" altLang="nl-NL" baseline="0" dirty="0"/>
              <a:t> </a:t>
            </a:r>
            <a:r>
              <a:rPr lang="en-US" altLang="nl-NL" dirty="0" err="1"/>
              <a:t>allemaal</a:t>
            </a:r>
            <a:r>
              <a:rPr lang="en-US" altLang="nl-NL" baseline="0" dirty="0"/>
              <a:t> </a:t>
            </a:r>
            <a:r>
              <a:rPr lang="en-US" altLang="nl-NL" baseline="0" dirty="0" err="1"/>
              <a:t>dankbaar</a:t>
            </a:r>
            <a:r>
              <a:rPr lang="en-US" altLang="nl-NL" baseline="0" dirty="0"/>
              <a:t> </a:t>
            </a:r>
            <a:r>
              <a:rPr lang="en-US" altLang="nl-NL" baseline="0" dirty="0" err="1"/>
              <a:t>gebruik</a:t>
            </a:r>
            <a:r>
              <a:rPr lang="en-US" altLang="nl-NL" baseline="0" dirty="0"/>
              <a:t> van de </a:t>
            </a:r>
            <a:r>
              <a:rPr lang="en-US" altLang="nl-NL" baseline="0" dirty="0" err="1"/>
              <a:t>inmiddels</a:t>
            </a:r>
            <a:r>
              <a:rPr lang="en-US" altLang="nl-NL" baseline="0" dirty="0"/>
              <a:t> </a:t>
            </a:r>
            <a:r>
              <a:rPr lang="en-US" altLang="nl-NL" baseline="0" dirty="0" err="1"/>
              <a:t>gangbare</a:t>
            </a:r>
            <a:r>
              <a:rPr lang="en-US" altLang="nl-NL" baseline="0" dirty="0"/>
              <a:t> 24uurs </a:t>
            </a:r>
            <a:r>
              <a:rPr lang="en-US" altLang="nl-NL" baseline="0" dirty="0" err="1"/>
              <a:t>economie</a:t>
            </a:r>
            <a:r>
              <a:rPr lang="en-US" altLang="nl-NL" baseline="0" dirty="0"/>
              <a:t>. </a:t>
            </a:r>
            <a:r>
              <a:rPr lang="en-US" altLang="nl-NL" baseline="0" dirty="0" err="1"/>
              <a:t>Dit</a:t>
            </a:r>
            <a:r>
              <a:rPr lang="en-US" altLang="nl-NL" baseline="0" dirty="0"/>
              <a:t> </a:t>
            </a:r>
            <a:r>
              <a:rPr lang="en-US" altLang="nl-NL" baseline="0" dirty="0" err="1"/>
              <a:t>wordt</a:t>
            </a:r>
            <a:r>
              <a:rPr lang="en-US" altLang="nl-NL" baseline="0" dirty="0"/>
              <a:t> </a:t>
            </a:r>
            <a:r>
              <a:rPr lang="en-US" altLang="nl-NL" baseline="0" dirty="0" err="1"/>
              <a:t>mogelijk</a:t>
            </a:r>
            <a:r>
              <a:rPr lang="en-US" altLang="nl-NL" baseline="0" dirty="0"/>
              <a:t> </a:t>
            </a:r>
            <a:r>
              <a:rPr lang="en-US" altLang="nl-NL" baseline="0" dirty="0" err="1"/>
              <a:t>gemaakt</a:t>
            </a:r>
            <a:r>
              <a:rPr lang="en-US" altLang="nl-NL" baseline="0" dirty="0"/>
              <a:t> door </a:t>
            </a:r>
            <a:r>
              <a:rPr lang="en-US" altLang="nl-NL" baseline="0" dirty="0" err="1"/>
              <a:t>mensen</a:t>
            </a:r>
            <a:r>
              <a:rPr lang="en-US" altLang="nl-NL" baseline="0" dirty="0"/>
              <a:t> met </a:t>
            </a:r>
            <a:r>
              <a:rPr lang="en-US" altLang="nl-NL" baseline="0" dirty="0" err="1"/>
              <a:t>onregelmatige</a:t>
            </a:r>
            <a:r>
              <a:rPr lang="en-US" altLang="nl-NL" baseline="0" dirty="0"/>
              <a:t> </a:t>
            </a:r>
            <a:r>
              <a:rPr lang="en-US" altLang="nl-NL" baseline="0" dirty="0" err="1"/>
              <a:t>werktijden</a:t>
            </a:r>
            <a:endParaRPr lang="en-US" altLang="nl-NL" baseline="0" dirty="0"/>
          </a:p>
          <a:p>
            <a:pPr marL="228600" indent="-228600" eaLnBrk="1" hangingPunct="1">
              <a:spcBef>
                <a:spcPct val="0"/>
              </a:spcBef>
              <a:buFont typeface="+mj-lt"/>
              <a:buAutoNum type="arabicPeriod"/>
            </a:pPr>
            <a:r>
              <a:rPr lang="en-US" altLang="nl-NL" baseline="0" dirty="0"/>
              <a:t>Of we nu tot </a:t>
            </a:r>
            <a:r>
              <a:rPr lang="en-US" altLang="nl-NL" baseline="0" dirty="0" err="1"/>
              <a:t>laat</a:t>
            </a:r>
            <a:r>
              <a:rPr lang="en-US" altLang="nl-NL" baseline="0" dirty="0"/>
              <a:t> </a:t>
            </a:r>
            <a:r>
              <a:rPr lang="en-US" altLang="nl-NL" baseline="0" dirty="0" err="1"/>
              <a:t>uit</a:t>
            </a:r>
            <a:r>
              <a:rPr lang="en-US" altLang="nl-NL" baseline="0" dirty="0"/>
              <a:t> </a:t>
            </a:r>
            <a:r>
              <a:rPr lang="en-US" altLang="nl-NL" baseline="0" dirty="0" err="1"/>
              <a:t>eten</a:t>
            </a:r>
            <a:r>
              <a:rPr lang="en-US" altLang="nl-NL" baseline="0" dirty="0"/>
              <a:t> </a:t>
            </a:r>
            <a:r>
              <a:rPr lang="en-US" altLang="nl-NL" baseline="0" dirty="0" err="1"/>
              <a:t>gaan</a:t>
            </a:r>
            <a:endParaRPr lang="en-US" altLang="nl-NL" baseline="0" dirty="0"/>
          </a:p>
          <a:p>
            <a:pPr marL="228600" indent="-228600" eaLnBrk="1" hangingPunct="1">
              <a:spcBef>
                <a:spcPct val="0"/>
              </a:spcBef>
              <a:buFont typeface="+mj-lt"/>
              <a:buAutoNum type="arabicPeriod"/>
            </a:pPr>
            <a:r>
              <a:rPr lang="en-US" altLang="nl-NL" baseline="0" dirty="0"/>
              <a:t>Met </a:t>
            </a:r>
            <a:r>
              <a:rPr lang="en-US" altLang="nl-NL" baseline="0" dirty="0" err="1"/>
              <a:t>spoed</a:t>
            </a:r>
            <a:r>
              <a:rPr lang="en-US" altLang="nl-NL" baseline="0" dirty="0"/>
              <a:t> </a:t>
            </a:r>
            <a:r>
              <a:rPr lang="en-US" altLang="nl-NL" baseline="0" dirty="0" err="1"/>
              <a:t>naar</a:t>
            </a:r>
            <a:r>
              <a:rPr lang="en-US" altLang="nl-NL" baseline="0" dirty="0"/>
              <a:t> het </a:t>
            </a:r>
            <a:r>
              <a:rPr lang="en-US" altLang="nl-NL" baseline="0" dirty="0" err="1"/>
              <a:t>ziekenhuis</a:t>
            </a:r>
            <a:r>
              <a:rPr lang="en-US" altLang="nl-NL" baseline="0" dirty="0"/>
              <a:t> </a:t>
            </a:r>
            <a:r>
              <a:rPr lang="en-US" altLang="nl-NL" baseline="0" dirty="0" err="1"/>
              <a:t>moeten</a:t>
            </a:r>
            <a:endParaRPr lang="en-US" altLang="nl-NL" baseline="0" dirty="0"/>
          </a:p>
          <a:p>
            <a:pPr marL="228600" indent="-228600" eaLnBrk="1" hangingPunct="1">
              <a:spcBef>
                <a:spcPct val="0"/>
              </a:spcBef>
              <a:buFont typeface="+mj-lt"/>
              <a:buAutoNum type="arabicPeriod"/>
            </a:pPr>
            <a:r>
              <a:rPr lang="en-US" altLang="nl-NL" baseline="0" dirty="0"/>
              <a:t>Of ‘s </a:t>
            </a:r>
            <a:r>
              <a:rPr lang="en-US" altLang="nl-NL" baseline="0" dirty="0" err="1"/>
              <a:t>nachts</a:t>
            </a:r>
            <a:r>
              <a:rPr lang="en-US" altLang="nl-NL" baseline="0" dirty="0"/>
              <a:t> </a:t>
            </a:r>
            <a:r>
              <a:rPr lang="en-US" altLang="nl-NL" baseline="0" dirty="0" err="1"/>
              <a:t>naar</a:t>
            </a:r>
            <a:r>
              <a:rPr lang="en-US" altLang="nl-NL" baseline="0" dirty="0"/>
              <a:t> </a:t>
            </a:r>
            <a:r>
              <a:rPr lang="en-US" altLang="nl-NL" baseline="0" dirty="0" err="1"/>
              <a:t>onze</a:t>
            </a:r>
            <a:r>
              <a:rPr lang="en-US" altLang="nl-NL" baseline="0" dirty="0"/>
              <a:t> </a:t>
            </a:r>
            <a:r>
              <a:rPr lang="en-US" altLang="nl-NL" baseline="0" dirty="0" err="1"/>
              <a:t>vakantiebestemming</a:t>
            </a:r>
            <a:r>
              <a:rPr lang="en-US" altLang="nl-NL" baseline="0" dirty="0"/>
              <a:t> </a:t>
            </a:r>
            <a:r>
              <a:rPr lang="en-US" altLang="nl-NL" baseline="0" dirty="0" err="1"/>
              <a:t>vliegen</a:t>
            </a:r>
            <a:endParaRPr lang="en-US" altLang="nl-NL" baseline="0" dirty="0"/>
          </a:p>
          <a:p>
            <a:pPr marL="228600" indent="-228600" eaLnBrk="1" hangingPunct="1">
              <a:spcBef>
                <a:spcPct val="0"/>
              </a:spcBef>
              <a:buFont typeface="+mj-lt"/>
              <a:buAutoNum type="arabicPeriod"/>
            </a:pPr>
            <a:r>
              <a:rPr lang="en-US" altLang="nl-NL" baseline="0" dirty="0" err="1"/>
              <a:t>Er</a:t>
            </a:r>
            <a:r>
              <a:rPr lang="en-US" altLang="nl-NL" baseline="0" dirty="0"/>
              <a:t> </a:t>
            </a:r>
            <a:r>
              <a:rPr lang="en-US" altLang="nl-NL" baseline="0" dirty="0" err="1"/>
              <a:t>zijn</a:t>
            </a:r>
            <a:r>
              <a:rPr lang="en-US" altLang="nl-NL" baseline="0" dirty="0"/>
              <a:t> </a:t>
            </a:r>
            <a:r>
              <a:rPr lang="en-US" altLang="nl-NL" baseline="0" dirty="0" err="1"/>
              <a:t>altijd</a:t>
            </a:r>
            <a:r>
              <a:rPr lang="en-US" altLang="nl-NL" baseline="0" dirty="0"/>
              <a:t> </a:t>
            </a:r>
            <a:r>
              <a:rPr lang="en-US" altLang="nl-NL" baseline="0" dirty="0" err="1"/>
              <a:t>mensen</a:t>
            </a:r>
            <a:r>
              <a:rPr lang="en-US" altLang="nl-NL" baseline="0" dirty="0"/>
              <a:t> </a:t>
            </a:r>
            <a:r>
              <a:rPr lang="en-US" altLang="nl-NL" baseline="0" dirty="0" err="1"/>
              <a:t>nodig</a:t>
            </a:r>
            <a:r>
              <a:rPr lang="en-US" altLang="nl-NL" baseline="0" dirty="0"/>
              <a:t> die </a:t>
            </a:r>
            <a:r>
              <a:rPr lang="en-US" altLang="nl-NL" baseline="0" dirty="0" err="1"/>
              <a:t>buiten</a:t>
            </a:r>
            <a:r>
              <a:rPr lang="en-US" altLang="nl-NL" baseline="0" dirty="0"/>
              <a:t> de </a:t>
            </a:r>
            <a:r>
              <a:rPr lang="en-US" altLang="nl-NL" baseline="0" dirty="0" err="1"/>
              <a:t>normale</a:t>
            </a:r>
            <a:r>
              <a:rPr lang="en-US" altLang="nl-NL" baseline="0" dirty="0"/>
              <a:t> </a:t>
            </a:r>
            <a:r>
              <a:rPr lang="en-US" altLang="nl-NL" baseline="0" dirty="0" err="1"/>
              <a:t>dagdiensten</a:t>
            </a:r>
            <a:r>
              <a:rPr lang="en-US" altLang="nl-NL" baseline="0" dirty="0"/>
              <a:t> </a:t>
            </a:r>
            <a:r>
              <a:rPr lang="en-US" altLang="nl-NL" baseline="0" dirty="0" err="1"/>
              <a:t>actief</a:t>
            </a:r>
            <a:r>
              <a:rPr lang="en-US" altLang="nl-NL" baseline="0" dirty="0"/>
              <a:t> </a:t>
            </a:r>
            <a:r>
              <a:rPr lang="en-US" altLang="nl-NL" baseline="0" dirty="0" err="1"/>
              <a:t>zijn</a:t>
            </a:r>
            <a:r>
              <a:rPr lang="en-US" altLang="nl-NL" baseline="0" dirty="0"/>
              <a:t>, </a:t>
            </a:r>
            <a:r>
              <a:rPr lang="en-US" altLang="nl-NL" baseline="0" dirty="0" err="1"/>
              <a:t>bijvoorbeeld</a:t>
            </a:r>
            <a:r>
              <a:rPr lang="en-US" altLang="nl-NL" baseline="0" dirty="0"/>
              <a:t> in de </a:t>
            </a:r>
            <a:r>
              <a:rPr lang="en-US" altLang="nl-NL" baseline="0" dirty="0" err="1"/>
              <a:t>vroege</a:t>
            </a:r>
            <a:r>
              <a:rPr lang="en-US" altLang="nl-NL" baseline="0" dirty="0"/>
              <a:t> </a:t>
            </a:r>
            <a:r>
              <a:rPr lang="en-US" altLang="nl-NL" baseline="0" dirty="0" err="1"/>
              <a:t>ochtend</a:t>
            </a:r>
            <a:r>
              <a:rPr lang="en-US" altLang="nl-NL" baseline="0" dirty="0"/>
              <a:t> of </a:t>
            </a:r>
            <a:r>
              <a:rPr lang="en-US" altLang="nl-NL" baseline="0" dirty="0" err="1"/>
              <a:t>tijdens</a:t>
            </a:r>
            <a:r>
              <a:rPr lang="en-US" altLang="nl-NL" baseline="0" dirty="0"/>
              <a:t> de </a:t>
            </a:r>
            <a:r>
              <a:rPr lang="en-US" altLang="nl-NL" baseline="0" dirty="0" err="1"/>
              <a:t>nacht</a:t>
            </a:r>
            <a:endParaRPr lang="en-US" altLang="nl-NL" baseline="0" dirty="0"/>
          </a:p>
          <a:p>
            <a:pPr marL="0" indent="0" eaLnBrk="1" hangingPunct="1">
              <a:spcBef>
                <a:spcPct val="0"/>
              </a:spcBef>
              <a:buFont typeface="Arial" panose="020B0604020202020204" pitchFamily="34" charset="0"/>
              <a:buNone/>
            </a:pPr>
            <a:endParaRPr lang="en-US" altLang="nl-NL" baseline="0" dirty="0"/>
          </a:p>
          <a:p>
            <a:pPr eaLnBrk="1" hangingPunct="1">
              <a:spcBef>
                <a:spcPct val="0"/>
              </a:spcBef>
            </a:pPr>
            <a:endParaRPr lang="en-US" altLang="nl-NL"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FF4C9B8-6966-9F77-D2E1-1D6FD7CF18A2}"/>
              </a:ext>
            </a:extLst>
          </p:cNvPr>
          <p:cNvSpPr>
            <a:spLocks noGrp="1"/>
          </p:cNvSpPr>
          <p:nvPr>
            <p:ph type="body" idx="1"/>
          </p:nvPr>
        </p:nvSpPr>
        <p:spPr/>
        <p:txBody>
          <a:bodyPr/>
          <a:lstStyle/>
          <a:p>
            <a:pPr marL="0" indent="0">
              <a:buFontTx/>
              <a:buNone/>
            </a:pPr>
            <a:r>
              <a:rPr lang="nl-NL" dirty="0"/>
              <a:t>In Nederland werken maar liefst 1.3 miljoen mensen in de nacht</a:t>
            </a:r>
          </a:p>
          <a:p>
            <a:pPr marL="171450" lvl="0" indent="-171450">
              <a:buFontTx/>
              <a:buChar char="-"/>
            </a:pPr>
            <a:r>
              <a:rPr lang="nl-NL" dirty="0"/>
              <a:t>1,3 </a:t>
            </a:r>
            <a:r>
              <a:rPr lang="nl-NL" dirty="0" err="1"/>
              <a:t>milj</a:t>
            </a:r>
            <a:r>
              <a:rPr lang="nl-NL" dirty="0"/>
              <a:t> mensen werken momenteel regelmatig/soms in de nacht</a:t>
            </a:r>
          </a:p>
          <a:p>
            <a:pPr marL="628650" lvl="1" indent="-171450">
              <a:buFontTx/>
              <a:buChar char="-"/>
            </a:pPr>
            <a:r>
              <a:rPr lang="nl-NL" dirty="0"/>
              <a:t>750.000 regelmatig</a:t>
            </a:r>
          </a:p>
          <a:p>
            <a:pPr marL="628650" lvl="1" indent="-171450">
              <a:buFontTx/>
              <a:buChar char="-"/>
            </a:pPr>
            <a:r>
              <a:rPr lang="nl-NL" dirty="0"/>
              <a:t>550.000 soms</a:t>
            </a:r>
          </a:p>
          <a:p>
            <a:pPr marL="171450" lvl="0" indent="-171450">
              <a:buFontTx/>
              <a:buChar char="-"/>
            </a:pPr>
            <a:r>
              <a:rPr lang="nl-NL" dirty="0"/>
              <a:t>Afgelopen 15 jaar absolute ligt gestegen van 1,2 </a:t>
            </a:r>
            <a:r>
              <a:rPr lang="nl-NL" dirty="0" err="1"/>
              <a:t>milj</a:t>
            </a:r>
            <a:r>
              <a:rPr lang="nl-NL" dirty="0"/>
              <a:t> tot 1,3 </a:t>
            </a:r>
            <a:r>
              <a:rPr lang="nl-NL" dirty="0" err="1"/>
              <a:t>milj</a:t>
            </a:r>
            <a:endParaRPr lang="nl-NL" dirty="0"/>
          </a:p>
          <a:p>
            <a:pPr marL="628650" lvl="1" indent="-171450">
              <a:buFontTx/>
              <a:buChar char="-"/>
            </a:pPr>
            <a:r>
              <a:rPr lang="nl-NL" dirty="0"/>
              <a:t>Groei beroepsbevolking</a:t>
            </a:r>
          </a:p>
          <a:p>
            <a:pPr marL="628650" lvl="1" indent="-171450">
              <a:buFontTx/>
              <a:buChar char="-"/>
            </a:pPr>
            <a:r>
              <a:rPr lang="nl-NL" dirty="0"/>
              <a:t>Groei zit </a:t>
            </a:r>
            <a:r>
              <a:rPr lang="nl-NL" dirty="0" err="1"/>
              <a:t>vnl</a:t>
            </a:r>
            <a:r>
              <a:rPr lang="nl-NL" dirty="0"/>
              <a:t> in categorie ‘soms’</a:t>
            </a:r>
          </a:p>
          <a:p>
            <a:endParaRPr lang="nl-NL" dirty="0"/>
          </a:p>
        </p:txBody>
      </p:sp>
    </p:spTree>
    <p:extLst>
      <p:ext uri="{BB962C8B-B14F-4D97-AF65-F5344CB8AC3E}">
        <p14:creationId xmlns:p14="http://schemas.microsoft.com/office/powerpoint/2010/main" val="1043477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lvl="0" indent="-171450">
              <a:buFontTx/>
              <a:buChar char="-"/>
            </a:pPr>
            <a:r>
              <a:rPr lang="nl-NL" dirty="0"/>
              <a:t>Percentages blijven ongeveer hetzelfde, </a:t>
            </a:r>
          </a:p>
          <a:p>
            <a:pPr marL="171450" lvl="0" indent="-171450">
              <a:buFontTx/>
              <a:buChar char="-"/>
            </a:pPr>
            <a:r>
              <a:rPr lang="nl-NL" dirty="0"/>
              <a:t>Verdubbeling aantal oudere medewerkers (&gt;55+)</a:t>
            </a:r>
          </a:p>
          <a:p>
            <a:pPr marL="171450" lvl="0" indent="-171450">
              <a:buFontTx/>
              <a:buChar char="-"/>
            </a:pPr>
            <a:r>
              <a:rPr lang="nl-NL" dirty="0"/>
              <a:t>&gt; verhoging pensioen leeftijd</a:t>
            </a:r>
          </a:p>
          <a:p>
            <a:pPr marL="171450" lvl="0" indent="-171450">
              <a:buFontTx/>
              <a:buChar char="-"/>
            </a:pPr>
            <a:r>
              <a:rPr lang="nl-NL" dirty="0"/>
              <a:t>&gt; vergrijzing</a:t>
            </a:r>
          </a:p>
          <a:p>
            <a:endParaRPr lang="nl-NL" dirty="0"/>
          </a:p>
        </p:txBody>
      </p:sp>
    </p:spTree>
    <p:extLst>
      <p:ext uri="{BB962C8B-B14F-4D97-AF65-F5344CB8AC3E}">
        <p14:creationId xmlns:p14="http://schemas.microsoft.com/office/powerpoint/2010/main" val="4280705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lvl="0" indent="-171450">
              <a:buFontTx/>
              <a:buChar char="-"/>
            </a:pPr>
            <a:r>
              <a:rPr lang="nl-NL" dirty="0"/>
              <a:t>Vooral in de industrie en het vervoer</a:t>
            </a:r>
          </a:p>
          <a:p>
            <a:endParaRPr lang="nl-NL" dirty="0"/>
          </a:p>
        </p:txBody>
      </p:sp>
    </p:spTree>
    <p:extLst>
      <p:ext uri="{BB962C8B-B14F-4D97-AF65-F5344CB8AC3E}">
        <p14:creationId xmlns:p14="http://schemas.microsoft.com/office/powerpoint/2010/main" val="4031542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gt; Om aan te geven hoe gevaarlijk het kan zijn;</a:t>
            </a:r>
          </a:p>
          <a:p>
            <a:pPr>
              <a:lnSpc>
                <a:spcPts val="1800"/>
              </a:lnSpc>
              <a:spcBef>
                <a:spcPct val="0"/>
              </a:spcBef>
              <a:buClrTx/>
              <a:buSzTx/>
              <a:buNone/>
            </a:pPr>
            <a:r>
              <a:rPr lang="nl-NL" altLang="nl-NL" sz="1400" b="1" dirty="0">
                <a:solidFill>
                  <a:schemeClr val="tx1"/>
                </a:solidFill>
              </a:rPr>
              <a:t>Diabetes mellitus type (2)</a:t>
            </a:r>
            <a:endParaRPr lang="nl-NL" altLang="nl-NL" sz="1100" dirty="0">
              <a:solidFill>
                <a:schemeClr val="tx1"/>
              </a:solidFill>
            </a:endParaRPr>
          </a:p>
          <a:p>
            <a:pPr>
              <a:lnSpc>
                <a:spcPts val="1800"/>
              </a:lnSpc>
              <a:spcBef>
                <a:spcPct val="0"/>
              </a:spcBef>
              <a:buClrTx/>
              <a:buSzTx/>
              <a:buNone/>
            </a:pPr>
            <a:r>
              <a:rPr lang="nl-NL" altLang="nl-NL" sz="1100" dirty="0">
                <a:solidFill>
                  <a:schemeClr val="tx1"/>
                </a:solidFill>
              </a:rPr>
              <a:t>verband tussen aantal jaren nachtwerk en diabetes</a:t>
            </a:r>
          </a:p>
          <a:p>
            <a:pPr>
              <a:lnSpc>
                <a:spcPts val="1800"/>
              </a:lnSpc>
              <a:spcBef>
                <a:spcPct val="0"/>
              </a:spcBef>
              <a:buClrTx/>
              <a:buSzTx/>
              <a:buNone/>
            </a:pPr>
            <a:r>
              <a:rPr lang="nl-NL" altLang="nl-NL" sz="1100" dirty="0">
                <a:solidFill>
                  <a:srgbClr val="FF0000"/>
                </a:solidFill>
              </a:rPr>
              <a:t>7 % kans op diabetes door 40 jaar</a:t>
            </a:r>
            <a:r>
              <a:rPr lang="nl-NL" altLang="nl-NL" sz="1100" dirty="0">
                <a:solidFill>
                  <a:schemeClr val="tx1"/>
                </a:solidFill>
              </a:rPr>
              <a:t> </a:t>
            </a:r>
            <a:r>
              <a:rPr lang="nl-NL" altLang="nl-NL" sz="1100" dirty="0">
                <a:solidFill>
                  <a:srgbClr val="FF0000"/>
                </a:solidFill>
              </a:rPr>
              <a:t>nachtwerk</a:t>
            </a:r>
          </a:p>
          <a:p>
            <a:pPr eaLnBrk="1" hangingPunct="1">
              <a:spcBef>
                <a:spcPct val="0"/>
              </a:spcBef>
              <a:buClrTx/>
              <a:buSzTx/>
              <a:buFontTx/>
              <a:buNone/>
            </a:pPr>
            <a:r>
              <a:rPr lang="nl-NL" altLang="nl-NL" sz="1200" b="1" dirty="0">
                <a:solidFill>
                  <a:schemeClr val="tx1"/>
                </a:solidFill>
              </a:rPr>
              <a:t>Hart- en vaatziekten</a:t>
            </a:r>
          </a:p>
          <a:p>
            <a:pPr eaLnBrk="1" hangingPunct="1">
              <a:spcBef>
                <a:spcPct val="0"/>
              </a:spcBef>
              <a:buClrTx/>
              <a:buSzTx/>
              <a:buFontTx/>
              <a:buNone/>
            </a:pPr>
            <a:r>
              <a:rPr lang="nl-NL" altLang="nl-NL" sz="1200" dirty="0">
                <a:solidFill>
                  <a:schemeClr val="tx1"/>
                </a:solidFill>
              </a:rPr>
              <a:t>verband tussen aantal jaren nachtwerk en hart- en vaatziekten</a:t>
            </a:r>
          </a:p>
          <a:p>
            <a:pPr eaLnBrk="1" hangingPunct="1">
              <a:spcBef>
                <a:spcPct val="0"/>
              </a:spcBef>
              <a:buClrTx/>
              <a:buSzTx/>
              <a:buFontTx/>
              <a:buNone/>
            </a:pPr>
            <a:r>
              <a:rPr lang="nl-NL" altLang="nl-NL" sz="1200" dirty="0">
                <a:solidFill>
                  <a:srgbClr val="FF0000"/>
                </a:solidFill>
              </a:rPr>
              <a:t>8 % kans op HVZ door 40 jaar</a:t>
            </a:r>
            <a:r>
              <a:rPr lang="nl-NL" altLang="nl-NL" sz="1200" dirty="0">
                <a:solidFill>
                  <a:schemeClr val="tx1"/>
                </a:solidFill>
              </a:rPr>
              <a:t> </a:t>
            </a:r>
            <a:r>
              <a:rPr lang="nl-NL" altLang="nl-NL" sz="1200" dirty="0">
                <a:solidFill>
                  <a:srgbClr val="FF0000"/>
                </a:solidFill>
              </a:rPr>
              <a:t>nachtwerk.</a:t>
            </a:r>
          </a:p>
          <a:p>
            <a:pPr eaLnBrk="1" hangingPunct="1">
              <a:spcBef>
                <a:spcPct val="0"/>
              </a:spcBef>
              <a:buClrTx/>
              <a:buSzTx/>
              <a:buFontTx/>
              <a:buNone/>
            </a:pPr>
            <a:r>
              <a:rPr lang="nl-NL" altLang="nl-NL" sz="1200" b="1" dirty="0">
                <a:solidFill>
                  <a:srgbClr val="FF0000"/>
                </a:solidFill>
              </a:rPr>
              <a:t>Slaapproblemen: </a:t>
            </a:r>
          </a:p>
          <a:p>
            <a:pPr algn="l"/>
            <a:r>
              <a:rPr lang="nl-NL" sz="1800" b="0" i="0" u="none" strike="noStrike" baseline="0" dirty="0">
                <a:latin typeface="ArialMT"/>
              </a:rPr>
              <a:t>naar schatting anderhalf tot ruim tweemaal vaker voor bij nachtwerkers dan bij </a:t>
            </a:r>
            <a:r>
              <a:rPr lang="nl-NL" sz="1800" b="0" i="0" u="none" strike="noStrike" baseline="0" dirty="0" err="1">
                <a:latin typeface="ArialMT"/>
              </a:rPr>
              <a:t>dagwerkers</a:t>
            </a:r>
            <a:r>
              <a:rPr lang="nl-NL" sz="1800" b="0" i="0" u="none" strike="noStrike" baseline="0" dirty="0">
                <a:latin typeface="ArialMT"/>
              </a:rPr>
              <a:t>. Kan leiden tot slaapstoornissen</a:t>
            </a:r>
            <a:endParaRPr lang="nl-NL" altLang="nl-NL" sz="1200" dirty="0">
              <a:solidFill>
                <a:srgbClr val="FF0000"/>
              </a:solidFill>
            </a:endParaRPr>
          </a:p>
          <a:p>
            <a:pPr>
              <a:lnSpc>
                <a:spcPts val="1800"/>
              </a:lnSpc>
              <a:spcBef>
                <a:spcPct val="0"/>
              </a:spcBef>
              <a:buClrTx/>
              <a:buSzTx/>
              <a:buNone/>
            </a:pPr>
            <a:endParaRPr lang="nl-NL" altLang="nl-NL" sz="1100" dirty="0">
              <a:solidFill>
                <a:srgbClr val="FF0000"/>
              </a:solidFill>
            </a:endParaRPr>
          </a:p>
          <a:p>
            <a:pPr eaLnBrk="1" hangingPunct="1">
              <a:spcBef>
                <a:spcPct val="0"/>
              </a:spcBef>
              <a:buClrTx/>
              <a:buSzTx/>
              <a:buFontTx/>
              <a:buNone/>
            </a:pPr>
            <a:r>
              <a:rPr lang="nl-NL" dirty="0"/>
              <a:t>Ter vergelijking&gt; </a:t>
            </a:r>
            <a:r>
              <a:rPr lang="nl-NL" altLang="nl-NL" sz="1200" dirty="0">
                <a:solidFill>
                  <a:schemeClr val="tx1"/>
                </a:solidFill>
              </a:rPr>
              <a:t>(‘</a:t>
            </a:r>
            <a:r>
              <a:rPr lang="nl-NL" altLang="nl-NL" sz="1200" dirty="0" err="1">
                <a:solidFill>
                  <a:schemeClr val="tx1"/>
                </a:solidFill>
              </a:rPr>
              <a:t>verbods’norm</a:t>
            </a:r>
            <a:r>
              <a:rPr lang="nl-NL" altLang="nl-NL" sz="1200" dirty="0">
                <a:solidFill>
                  <a:schemeClr val="tx1"/>
                </a:solidFill>
              </a:rPr>
              <a:t> voor kankerverwekkende stoffen: 1 * 10</a:t>
            </a:r>
            <a:r>
              <a:rPr lang="nl-NL" altLang="nl-NL" sz="1200" baseline="30000" dirty="0">
                <a:solidFill>
                  <a:schemeClr val="tx1"/>
                </a:solidFill>
              </a:rPr>
              <a:t>-4</a:t>
            </a:r>
            <a:r>
              <a:rPr lang="nl-NL" altLang="nl-NL" sz="1200" dirty="0">
                <a:solidFill>
                  <a:schemeClr val="tx1"/>
                </a:solidFill>
              </a:rPr>
              <a:t> / jaar</a:t>
            </a:r>
          </a:p>
          <a:p>
            <a:pPr eaLnBrk="1" hangingPunct="1">
              <a:spcBef>
                <a:spcPct val="0"/>
              </a:spcBef>
              <a:buClrTx/>
              <a:buSzTx/>
              <a:buFontTx/>
              <a:buNone/>
            </a:pPr>
            <a:r>
              <a:rPr lang="nl-NL" altLang="nl-NL" sz="1200" dirty="0">
                <a:solidFill>
                  <a:srgbClr val="006600"/>
                </a:solidFill>
              </a:rPr>
              <a:t>0,4 % kans op sterfte door kanker door 40 jaar werk)</a:t>
            </a:r>
          </a:p>
          <a:p>
            <a:endParaRPr lang="nl-NL" dirty="0"/>
          </a:p>
          <a:p>
            <a:pPr algn="l"/>
            <a:r>
              <a:rPr lang="nl-NL" sz="1800" b="0" i="0" u="none" strike="noStrike" baseline="0" dirty="0">
                <a:latin typeface="ArialMT"/>
              </a:rPr>
              <a:t>Naar schatting loopt</a:t>
            </a:r>
          </a:p>
          <a:p>
            <a:pPr algn="l"/>
            <a:r>
              <a:rPr lang="nl-NL" sz="1800" b="0" i="0" u="none" strike="noStrike" baseline="0" dirty="0">
                <a:latin typeface="ArialMT"/>
              </a:rPr>
              <a:t>het aantal gevallen van diabetes door het doen</a:t>
            </a:r>
          </a:p>
          <a:p>
            <a:pPr algn="l"/>
            <a:r>
              <a:rPr lang="nl-NL" sz="1800" b="0" i="0" u="none" strike="noStrike" baseline="0" dirty="0">
                <a:latin typeface="ArialMT"/>
              </a:rPr>
              <a:t>van nachtwerk op tot 21 van de 100 gevallen</a:t>
            </a:r>
          </a:p>
          <a:p>
            <a:pPr algn="l"/>
            <a:r>
              <a:rPr lang="nl-NL" sz="1800" b="0" i="0" u="none" strike="noStrike" baseline="0" dirty="0">
                <a:latin typeface="ArialMT"/>
              </a:rPr>
              <a:t>van diabetes mellitus onder nachtwerkers. Voor</a:t>
            </a:r>
          </a:p>
          <a:p>
            <a:pPr algn="l"/>
            <a:r>
              <a:rPr lang="nl-NL" sz="1800" b="0" i="0" u="none" strike="noStrike" baseline="0" dirty="0">
                <a:latin typeface="ArialMT"/>
              </a:rPr>
              <a:t>hart- en vaatziekten loopt het naar schatting op</a:t>
            </a:r>
          </a:p>
          <a:p>
            <a:pPr algn="l"/>
            <a:r>
              <a:rPr lang="nl-NL" sz="1800" b="0" i="0" u="none" strike="noStrike" baseline="0" dirty="0">
                <a:latin typeface="ArialMT"/>
              </a:rPr>
              <a:t>tot 23 van de 100 gevallen. Deze schattingen</a:t>
            </a:r>
          </a:p>
          <a:p>
            <a:pPr algn="l"/>
            <a:r>
              <a:rPr lang="nl-NL" sz="1800" b="0" i="0" u="none" strike="noStrike" baseline="0" dirty="0">
                <a:latin typeface="ArialMT"/>
              </a:rPr>
              <a:t>gelden voor nachtwerkers die veertig jaar in</a:t>
            </a:r>
          </a:p>
          <a:p>
            <a:pPr algn="l"/>
            <a:r>
              <a:rPr lang="nl-NL" sz="1800" b="0" i="0" u="none" strike="noStrike" baseline="0" dirty="0">
                <a:latin typeface="ArialMT"/>
              </a:rPr>
              <a:t>nachtdiensten hebben gewerkt, dus zo goed als</a:t>
            </a:r>
          </a:p>
          <a:p>
            <a:pPr algn="l"/>
            <a:r>
              <a:rPr lang="nl-NL" sz="1800" b="0" i="0" u="none" strike="noStrike" baseline="0" dirty="0">
                <a:latin typeface="ArialMT"/>
              </a:rPr>
              <a:t>het hele arbeidzame leven. Nachtwerk kan</a:t>
            </a:r>
          </a:p>
          <a:p>
            <a:pPr algn="l"/>
            <a:r>
              <a:rPr lang="nl-NL" sz="1800" b="0" i="0" u="none" strike="noStrike" baseline="0" dirty="0">
                <a:latin typeface="ArialMT"/>
              </a:rPr>
              <a:t>leiden tot diabetes mellitus (type 2) of een </a:t>
            </a:r>
            <a:r>
              <a:rPr lang="nl-NL" sz="1800" b="0" i="0" u="none" strike="noStrike" baseline="0" dirty="0" err="1">
                <a:latin typeface="ArialMT"/>
              </a:rPr>
              <a:t>hartof</a:t>
            </a:r>
            <a:endParaRPr lang="nl-NL" sz="1800" b="0" i="0" u="none" strike="noStrike" baseline="0" dirty="0">
              <a:latin typeface="ArialMT"/>
            </a:endParaRPr>
          </a:p>
          <a:p>
            <a:pPr algn="l"/>
            <a:r>
              <a:rPr lang="nl-NL" sz="1800" b="0" i="0" u="none" strike="noStrike" baseline="0" dirty="0">
                <a:latin typeface="ArialMT"/>
              </a:rPr>
              <a:t>vaatziekte doordat de glucose- en vethuishouding</a:t>
            </a:r>
          </a:p>
          <a:p>
            <a:pPr algn="l"/>
            <a:r>
              <a:rPr lang="nl-NL" sz="1800" b="0" i="0" u="none" strike="noStrike" baseline="0" dirty="0">
                <a:latin typeface="ArialMT"/>
              </a:rPr>
              <a:t>’s nachts minder actief is dan overdag.</a:t>
            </a:r>
          </a:p>
          <a:p>
            <a:pPr algn="l"/>
            <a:r>
              <a:rPr lang="nl-NL" sz="1800" b="0" i="0" u="none" strike="noStrike" baseline="0" dirty="0">
                <a:latin typeface="ArialMT"/>
              </a:rPr>
              <a:t>Als men dan ‘s nachts eet kan dit leiden tot</a:t>
            </a:r>
          </a:p>
          <a:p>
            <a:pPr algn="l"/>
            <a:r>
              <a:rPr lang="nl-NL" sz="1800" b="0" i="0" u="none" strike="noStrike" baseline="0" dirty="0">
                <a:latin typeface="ArialMT"/>
              </a:rPr>
              <a:t>hogere glucosespiegels in het bloed en hogere</a:t>
            </a:r>
          </a:p>
          <a:p>
            <a:pPr algn="l"/>
            <a:r>
              <a:rPr lang="nl-NL" sz="1800" b="0" i="0" u="none" strike="noStrike" baseline="0" dirty="0">
                <a:latin typeface="ArialMT"/>
              </a:rPr>
              <a:t>opslag van vet in het lichaam dan overdag het</a:t>
            </a:r>
          </a:p>
          <a:p>
            <a:pPr algn="l"/>
            <a:r>
              <a:rPr lang="nl-NL" sz="1800" b="0" i="0" u="none" strike="noStrike" baseline="0" dirty="0">
                <a:latin typeface="ArialMT"/>
              </a:rPr>
              <a:t>geval zou zijn. Hierdoor kan bijvoorbeeld overgewicht</a:t>
            </a:r>
          </a:p>
          <a:p>
            <a:pPr algn="l"/>
            <a:r>
              <a:rPr lang="nl-NL" sz="1800" b="0" i="0" u="none" strike="noStrike" baseline="0" dirty="0">
                <a:latin typeface="ArialMT"/>
              </a:rPr>
              <a:t>en prediabetes ontstaan. Dit zijn risicofactoren</a:t>
            </a:r>
          </a:p>
          <a:p>
            <a:pPr algn="l"/>
            <a:r>
              <a:rPr lang="nl-NL" sz="1800" b="0" i="0" u="none" strike="noStrike" baseline="0" dirty="0">
                <a:latin typeface="ArialMT"/>
              </a:rPr>
              <a:t>voor diabetes mellitus en hart- en vaatziekten</a:t>
            </a:r>
            <a:endParaRPr lang="nl-NL" dirty="0"/>
          </a:p>
          <a:p>
            <a:endParaRPr lang="nl-NL" dirty="0"/>
          </a:p>
        </p:txBody>
      </p:sp>
    </p:spTree>
    <p:extLst>
      <p:ext uri="{BB962C8B-B14F-4D97-AF65-F5344CB8AC3E}">
        <p14:creationId xmlns:p14="http://schemas.microsoft.com/office/powerpoint/2010/main" val="36406876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4 hour rhythm</a:t>
            </a:r>
          </a:p>
          <a:p>
            <a:r>
              <a:rPr lang="en-GB" dirty="0"/>
              <a:t>Biological clock mainly influenced by (sun)light/dark cycle</a:t>
            </a:r>
          </a:p>
          <a:p>
            <a:r>
              <a:rPr lang="en-GB" dirty="0"/>
              <a:t>Dictates physiological processes such as sleep, body temperature, digestion. </a:t>
            </a:r>
          </a:p>
          <a:p>
            <a:r>
              <a:rPr lang="en-GB" dirty="0"/>
              <a:t>Disruption can lead to</a:t>
            </a:r>
          </a:p>
          <a:p>
            <a:pPr lvl="1"/>
            <a:r>
              <a:rPr lang="en-GB" dirty="0"/>
              <a:t>Fatigue </a:t>
            </a:r>
            <a:r>
              <a:rPr lang="en-GB" dirty="0">
                <a:latin typeface="Calibri" panose="020F0502020204030204" pitchFamily="34" charset="0"/>
                <a:cs typeface="Calibri" panose="020F0502020204030204" pitchFamily="34" charset="0"/>
              </a:rPr>
              <a:t>↑</a:t>
            </a:r>
            <a:endParaRPr lang="en-GB" dirty="0"/>
          </a:p>
          <a:p>
            <a:pPr lvl="1"/>
            <a:r>
              <a:rPr lang="en-GB" dirty="0"/>
              <a:t>Concentration </a:t>
            </a:r>
            <a:r>
              <a:rPr lang="en-GB" dirty="0">
                <a:latin typeface="Calibri" panose="020F0502020204030204" pitchFamily="34" charset="0"/>
                <a:cs typeface="Calibri" panose="020F0502020204030204" pitchFamily="34" charset="0"/>
              </a:rPr>
              <a:t>↓</a:t>
            </a:r>
            <a:endParaRPr lang="en-GB" dirty="0"/>
          </a:p>
          <a:p>
            <a:pPr lvl="1"/>
            <a:r>
              <a:rPr lang="en-GB" dirty="0"/>
              <a:t>Mood changes </a:t>
            </a:r>
            <a:r>
              <a:rPr lang="en-GB" dirty="0">
                <a:latin typeface="Calibri" panose="020F0502020204030204" pitchFamily="34" charset="0"/>
                <a:cs typeface="Calibri" panose="020F0502020204030204" pitchFamily="34" charset="0"/>
              </a:rPr>
              <a:t>↑</a:t>
            </a:r>
            <a:endParaRPr lang="en-GB" dirty="0"/>
          </a:p>
          <a:p>
            <a:pPr lvl="1"/>
            <a:r>
              <a:rPr lang="en-GB" dirty="0"/>
              <a:t>(stress) resistance </a:t>
            </a:r>
            <a:r>
              <a:rPr lang="en-GB" dirty="0">
                <a:latin typeface="Calibri" panose="020F0502020204030204" pitchFamily="34" charset="0"/>
                <a:cs typeface="Calibri" panose="020F0502020204030204" pitchFamily="34" charset="0"/>
              </a:rPr>
              <a:t>↓</a:t>
            </a:r>
            <a:endParaRPr lang="en-GB" dirty="0"/>
          </a:p>
          <a:p>
            <a:endParaRPr lang="nl-NL" dirty="0"/>
          </a:p>
        </p:txBody>
      </p:sp>
      <p:sp>
        <p:nvSpPr>
          <p:cNvPr id="4" name="Slide Number Placeholder 3"/>
          <p:cNvSpPr>
            <a:spLocks noGrp="1"/>
          </p:cNvSpPr>
          <p:nvPr>
            <p:ph type="sldNum" sz="quarter" idx="5"/>
          </p:nvPr>
        </p:nvSpPr>
        <p:spPr/>
        <p:txBody>
          <a:bodyPr/>
          <a:lstStyle/>
          <a:p>
            <a:fld id="{0EDA0DF2-1824-4575-A17A-F4134FACA6EE}" type="slidenum">
              <a:rPr lang="nl-NL" smtClean="0"/>
              <a:t>11</a:t>
            </a:fld>
            <a:endParaRPr lang="nl-NL" dirty="0"/>
          </a:p>
        </p:txBody>
      </p:sp>
    </p:spTree>
    <p:extLst>
      <p:ext uri="{BB962C8B-B14F-4D97-AF65-F5344CB8AC3E}">
        <p14:creationId xmlns:p14="http://schemas.microsoft.com/office/powerpoint/2010/main" val="3385156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4" name="Group 13"/>
          <p:cNvGrpSpPr/>
          <p:nvPr userDrawn="1"/>
        </p:nvGrpSpPr>
        <p:grpSpPr>
          <a:xfrm>
            <a:off x="-5460" y="4817"/>
            <a:ext cx="7459503" cy="5145120"/>
            <a:chOff x="1666973" y="1800"/>
            <a:chExt cx="7459503" cy="5716800"/>
          </a:xfrm>
        </p:grpSpPr>
        <p:sp>
          <p:nvSpPr>
            <p:cNvPr id="25" name="Freeform 24"/>
            <p:cNvSpPr>
              <a:spLocks noChangeAspect="1"/>
            </p:cNvSpPr>
            <p:nvPr userDrawn="1"/>
          </p:nvSpPr>
          <p:spPr bwMode="auto">
            <a:xfrm>
              <a:off x="1666973" y="1800"/>
              <a:ext cx="7459503" cy="5716800"/>
            </a:xfrm>
            <a:custGeom>
              <a:avLst/>
              <a:gdLst>
                <a:gd name="connsiteX0" fmla="*/ 5585169 w 7444315"/>
                <a:gd name="connsiteY0" fmla="*/ 0 h 5716800"/>
                <a:gd name="connsiteX1" fmla="*/ 7444315 w 7444315"/>
                <a:gd name="connsiteY1" fmla="*/ 0 h 5716800"/>
                <a:gd name="connsiteX2" fmla="*/ 5023705 w 7444315"/>
                <a:gd name="connsiteY2" fmla="*/ 3861096 h 5716800"/>
                <a:gd name="connsiteX3" fmla="*/ 5149768 w 7444315"/>
                <a:gd name="connsiteY3" fmla="*/ 4855770 h 5716800"/>
                <a:gd name="connsiteX4" fmla="*/ 4478283 w 7444315"/>
                <a:gd name="connsiteY4" fmla="*/ 2719531 h 5716800"/>
                <a:gd name="connsiteX5" fmla="*/ 5585169 w 7444315"/>
                <a:gd name="connsiteY5" fmla="*/ 0 h 5716800"/>
                <a:gd name="connsiteX6" fmla="*/ 0 w 7444315"/>
                <a:gd name="connsiteY6" fmla="*/ 0 h 5716800"/>
                <a:gd name="connsiteX7" fmla="*/ 5540757 w 7444315"/>
                <a:gd name="connsiteY7" fmla="*/ 0 h 5716800"/>
                <a:gd name="connsiteX8" fmla="*/ 3894280 w 7444315"/>
                <a:gd name="connsiteY8" fmla="*/ 3774330 h 5716800"/>
                <a:gd name="connsiteX9" fmla="*/ 4373780 w 7444315"/>
                <a:gd name="connsiteY9" fmla="*/ 5715000 h 5716800"/>
                <a:gd name="connsiteX10" fmla="*/ 5511871 w 7444315"/>
                <a:gd name="connsiteY10" fmla="*/ 5715000 h 5716800"/>
                <a:gd name="connsiteX11" fmla="*/ 5149768 w 7444315"/>
                <a:gd name="connsiteY11" fmla="*/ 4855770 h 5716800"/>
                <a:gd name="connsiteX12" fmla="*/ 5911744 w 7444315"/>
                <a:gd name="connsiteY12" fmla="*/ 5716800 h 5716800"/>
                <a:gd name="connsiteX13" fmla="*/ 1992846 w 7444315"/>
                <a:gd name="connsiteY13" fmla="*/ 5716800 h 5716800"/>
                <a:gd name="connsiteX14" fmla="*/ 0 w 7444315"/>
                <a:gd name="connsiteY14" fmla="*/ 0 h 5716800"/>
                <a:gd name="connsiteX0" fmla="*/ 5600357 w 7459503"/>
                <a:gd name="connsiteY0" fmla="*/ 0 h 5716800"/>
                <a:gd name="connsiteX1" fmla="*/ 7459503 w 7459503"/>
                <a:gd name="connsiteY1" fmla="*/ 0 h 5716800"/>
                <a:gd name="connsiteX2" fmla="*/ 5038893 w 7459503"/>
                <a:gd name="connsiteY2" fmla="*/ 3861096 h 5716800"/>
                <a:gd name="connsiteX3" fmla="*/ 5164956 w 7459503"/>
                <a:gd name="connsiteY3" fmla="*/ 4855770 h 5716800"/>
                <a:gd name="connsiteX4" fmla="*/ 4493471 w 7459503"/>
                <a:gd name="connsiteY4" fmla="*/ 2719531 h 5716800"/>
                <a:gd name="connsiteX5" fmla="*/ 5600357 w 7459503"/>
                <a:gd name="connsiteY5" fmla="*/ 0 h 5716800"/>
                <a:gd name="connsiteX6" fmla="*/ 15188 w 7459503"/>
                <a:gd name="connsiteY6" fmla="*/ 0 h 5716800"/>
                <a:gd name="connsiteX7" fmla="*/ 5555945 w 7459503"/>
                <a:gd name="connsiteY7" fmla="*/ 0 h 5716800"/>
                <a:gd name="connsiteX8" fmla="*/ 3909468 w 7459503"/>
                <a:gd name="connsiteY8" fmla="*/ 3774330 h 5716800"/>
                <a:gd name="connsiteX9" fmla="*/ 4388968 w 7459503"/>
                <a:gd name="connsiteY9" fmla="*/ 5715000 h 5716800"/>
                <a:gd name="connsiteX10" fmla="*/ 5527059 w 7459503"/>
                <a:gd name="connsiteY10" fmla="*/ 5715000 h 5716800"/>
                <a:gd name="connsiteX11" fmla="*/ 5164956 w 7459503"/>
                <a:gd name="connsiteY11" fmla="*/ 4855770 h 5716800"/>
                <a:gd name="connsiteX12" fmla="*/ 5926932 w 7459503"/>
                <a:gd name="connsiteY12" fmla="*/ 5716800 h 5716800"/>
                <a:gd name="connsiteX13" fmla="*/ 0 w 7459503"/>
                <a:gd name="connsiteY13" fmla="*/ 5713424 h 5716800"/>
                <a:gd name="connsiteX14" fmla="*/ 15188 w 7459503"/>
                <a:gd name="connsiteY14" fmla="*/ 0 h 5716800"/>
                <a:gd name="connsiteX0" fmla="*/ 5600357 w 7459503"/>
                <a:gd name="connsiteY0" fmla="*/ 0 h 5716800"/>
                <a:gd name="connsiteX1" fmla="*/ 7459503 w 7459503"/>
                <a:gd name="connsiteY1" fmla="*/ 0 h 5716800"/>
                <a:gd name="connsiteX2" fmla="*/ 5038893 w 7459503"/>
                <a:gd name="connsiteY2" fmla="*/ 3861096 h 5716800"/>
                <a:gd name="connsiteX3" fmla="*/ 5164956 w 7459503"/>
                <a:gd name="connsiteY3" fmla="*/ 4855770 h 5716800"/>
                <a:gd name="connsiteX4" fmla="*/ 4493471 w 7459503"/>
                <a:gd name="connsiteY4" fmla="*/ 2719531 h 5716800"/>
                <a:gd name="connsiteX5" fmla="*/ 5600357 w 7459503"/>
                <a:gd name="connsiteY5" fmla="*/ 0 h 5716800"/>
                <a:gd name="connsiteX6" fmla="*/ 12150 w 7459503"/>
                <a:gd name="connsiteY6" fmla="*/ 0 h 5716800"/>
                <a:gd name="connsiteX7" fmla="*/ 5555945 w 7459503"/>
                <a:gd name="connsiteY7" fmla="*/ 0 h 5716800"/>
                <a:gd name="connsiteX8" fmla="*/ 3909468 w 7459503"/>
                <a:gd name="connsiteY8" fmla="*/ 3774330 h 5716800"/>
                <a:gd name="connsiteX9" fmla="*/ 4388968 w 7459503"/>
                <a:gd name="connsiteY9" fmla="*/ 5715000 h 5716800"/>
                <a:gd name="connsiteX10" fmla="*/ 5527059 w 7459503"/>
                <a:gd name="connsiteY10" fmla="*/ 5715000 h 5716800"/>
                <a:gd name="connsiteX11" fmla="*/ 5164956 w 7459503"/>
                <a:gd name="connsiteY11" fmla="*/ 4855770 h 5716800"/>
                <a:gd name="connsiteX12" fmla="*/ 5926932 w 7459503"/>
                <a:gd name="connsiteY12" fmla="*/ 5716800 h 5716800"/>
                <a:gd name="connsiteX13" fmla="*/ 0 w 7459503"/>
                <a:gd name="connsiteY13" fmla="*/ 5713424 h 5716800"/>
                <a:gd name="connsiteX14" fmla="*/ 12150 w 7459503"/>
                <a:gd name="connsiteY14" fmla="*/ 0 h 57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59503" h="5716800">
                  <a:moveTo>
                    <a:pt x="5600357" y="0"/>
                  </a:moveTo>
                  <a:lnTo>
                    <a:pt x="7459503" y="0"/>
                  </a:lnTo>
                  <a:cubicBezTo>
                    <a:pt x="6052776" y="893692"/>
                    <a:pt x="5038893" y="2371609"/>
                    <a:pt x="5038893" y="3861096"/>
                  </a:cubicBezTo>
                  <a:cubicBezTo>
                    <a:pt x="5040361" y="4216660"/>
                    <a:pt x="5081338" y="4545354"/>
                    <a:pt x="5164956" y="4855770"/>
                  </a:cubicBezTo>
                  <a:cubicBezTo>
                    <a:pt x="4710408" y="4212189"/>
                    <a:pt x="4495464" y="3537377"/>
                    <a:pt x="4493471" y="2719531"/>
                  </a:cubicBezTo>
                  <a:cubicBezTo>
                    <a:pt x="4493471" y="1698260"/>
                    <a:pt x="4906747" y="757997"/>
                    <a:pt x="5600357" y="0"/>
                  </a:cubicBezTo>
                  <a:close/>
                  <a:moveTo>
                    <a:pt x="12150" y="0"/>
                  </a:moveTo>
                  <a:lnTo>
                    <a:pt x="5555945" y="0"/>
                  </a:lnTo>
                  <a:cubicBezTo>
                    <a:pt x="4527619" y="1020949"/>
                    <a:pt x="3906579" y="2371609"/>
                    <a:pt x="3909468" y="3774330"/>
                  </a:cubicBezTo>
                  <a:cubicBezTo>
                    <a:pt x="3909468" y="4508950"/>
                    <a:pt x="4013456" y="5084499"/>
                    <a:pt x="4388968" y="5715000"/>
                  </a:cubicBezTo>
                  <a:lnTo>
                    <a:pt x="5527059" y="5715000"/>
                  </a:lnTo>
                  <a:cubicBezTo>
                    <a:pt x="5365050" y="5440374"/>
                    <a:pt x="5244991" y="5156648"/>
                    <a:pt x="5164956" y="4855770"/>
                  </a:cubicBezTo>
                  <a:cubicBezTo>
                    <a:pt x="5369481" y="5145750"/>
                    <a:pt x="5622709" y="5429322"/>
                    <a:pt x="5926932" y="5716800"/>
                  </a:cubicBezTo>
                  <a:lnTo>
                    <a:pt x="0" y="5713424"/>
                  </a:lnTo>
                  <a:cubicBezTo>
                    <a:pt x="0" y="5713424"/>
                    <a:pt x="12150" y="5716800"/>
                    <a:pt x="12150" y="0"/>
                  </a:cubicBezTo>
                  <a:close/>
                </a:path>
              </a:pathLst>
            </a:custGeom>
            <a:solidFill>
              <a:srgbClr val="ECF7FE"/>
            </a:solidFill>
            <a:ln w="3175">
              <a:noFill/>
              <a:round/>
              <a:headEnd/>
              <a:tailEnd/>
            </a:ln>
          </p:spPr>
          <p:txBody>
            <a:bodyPr vert="horz" wrap="square" lIns="91440" tIns="45720" rIns="91440" bIns="45720" numCol="1" anchor="t" anchorCtr="0" compatLnSpc="1">
              <a:prstTxWarp prst="textNoShape">
                <a:avLst/>
              </a:prstTxWarp>
            </a:bodyPr>
            <a:lstStyle/>
            <a:p>
              <a:endParaRPr lang="nl-NL" dirty="0">
                <a:solidFill>
                  <a:prstClr val="black"/>
                </a:solidFill>
              </a:endParaRPr>
            </a:p>
          </p:txBody>
        </p:sp>
        <p:sp>
          <p:nvSpPr>
            <p:cNvPr id="26" name="Freeform 25"/>
            <p:cNvSpPr>
              <a:spLocks noChangeAspect="1"/>
            </p:cNvSpPr>
            <p:nvPr userDrawn="1"/>
          </p:nvSpPr>
          <p:spPr bwMode="auto">
            <a:xfrm>
              <a:off x="5576555" y="1800"/>
              <a:ext cx="1690900" cy="5715000"/>
            </a:xfrm>
            <a:custGeom>
              <a:avLst/>
              <a:gdLst/>
              <a:ahLst/>
              <a:cxnLst/>
              <a:rect l="l" t="t" r="r" b="b"/>
              <a:pathLst>
                <a:path w="1690900" h="5715000">
                  <a:moveTo>
                    <a:pt x="1646488" y="0"/>
                  </a:moveTo>
                  <a:lnTo>
                    <a:pt x="1650206" y="0"/>
                  </a:lnTo>
                  <a:lnTo>
                    <a:pt x="1659036" y="0"/>
                  </a:lnTo>
                  <a:lnTo>
                    <a:pt x="1676231" y="0"/>
                  </a:lnTo>
                  <a:lnTo>
                    <a:pt x="1690900" y="0"/>
                  </a:lnTo>
                  <a:cubicBezTo>
                    <a:pt x="997290" y="757997"/>
                    <a:pt x="584014" y="1698260"/>
                    <a:pt x="584014" y="2719531"/>
                  </a:cubicBezTo>
                  <a:cubicBezTo>
                    <a:pt x="586007" y="3537378"/>
                    <a:pt x="800951" y="4212189"/>
                    <a:pt x="1255499" y="4855770"/>
                  </a:cubicBezTo>
                  <a:cubicBezTo>
                    <a:pt x="1335534" y="5156648"/>
                    <a:pt x="1455593" y="5440374"/>
                    <a:pt x="1617602" y="5715000"/>
                  </a:cubicBezTo>
                  <a:cubicBezTo>
                    <a:pt x="1617602" y="5715000"/>
                    <a:pt x="1617602" y="5715000"/>
                    <a:pt x="479511" y="5715000"/>
                  </a:cubicBezTo>
                  <a:cubicBezTo>
                    <a:pt x="103999" y="5084499"/>
                    <a:pt x="11" y="4508950"/>
                    <a:pt x="11" y="3774330"/>
                  </a:cubicBezTo>
                  <a:cubicBezTo>
                    <a:pt x="-2878" y="2371609"/>
                    <a:pt x="618162" y="1020949"/>
                    <a:pt x="1646488" y="0"/>
                  </a:cubicBezTo>
                  <a:close/>
                </a:path>
              </a:pathLst>
            </a:custGeom>
            <a:solidFill>
              <a:srgbClr val="CEEAF9"/>
            </a:solidFill>
            <a:ln w="3175">
              <a:noFill/>
              <a:round/>
              <a:headEnd/>
              <a:tailEnd/>
            </a:ln>
          </p:spPr>
          <p:txBody>
            <a:bodyPr vert="horz" wrap="square" lIns="91440" tIns="45720" rIns="91440" bIns="45720" numCol="1" anchor="t" anchorCtr="0" compatLnSpc="1">
              <a:prstTxWarp prst="textNoShape">
                <a:avLst/>
              </a:prstTxWarp>
            </a:bodyPr>
            <a:lstStyle/>
            <a:p>
              <a:endParaRPr lang="nl-NL" dirty="0">
                <a:solidFill>
                  <a:prstClr val="black"/>
                </a:solidFill>
              </a:endParaRPr>
            </a:p>
          </p:txBody>
        </p:sp>
      </p:grpSp>
      <p:sp>
        <p:nvSpPr>
          <p:cNvPr id="2" name="Title 1"/>
          <p:cNvSpPr>
            <a:spLocks noGrp="1"/>
          </p:cNvSpPr>
          <p:nvPr>
            <p:ph type="ctrTitle" hasCustomPrompt="1"/>
          </p:nvPr>
        </p:nvSpPr>
        <p:spPr bwMode="gray">
          <a:xfrm>
            <a:off x="2076141" y="3743489"/>
            <a:ext cx="6670984" cy="642187"/>
          </a:xfrm>
          <a:prstGeom prst="rect">
            <a:avLst/>
          </a:prstGeom>
        </p:spPr>
        <p:txBody>
          <a:bodyPr wrap="square" lIns="0" tIns="0" rIns="0" bIns="0" anchor="t" anchorCtr="0">
            <a:noAutofit/>
          </a:bodyPr>
          <a:lstStyle>
            <a:lvl1pPr marL="0" marR="0" indent="0" algn="l" defTabSz="914400" rtl="0" eaLnBrk="1" fontAlgn="auto" latinLnBrk="0" hangingPunct="1">
              <a:lnSpc>
                <a:spcPct val="100000"/>
              </a:lnSpc>
              <a:spcBef>
                <a:spcPts val="336"/>
              </a:spcBef>
              <a:spcAft>
                <a:spcPts val="0"/>
              </a:spcAft>
              <a:buClrTx/>
              <a:buSzTx/>
              <a:buFontTx/>
              <a:buNone/>
              <a:tabLst/>
              <a:defRPr sz="1600">
                <a:latin typeface="+mn-lt"/>
              </a:defRPr>
            </a:lvl1pPr>
          </a:lstStyle>
          <a:p>
            <a:pPr lvl="0"/>
            <a:r>
              <a:rPr lang="en-GB" noProof="0" dirty="0"/>
              <a:t>Click to edit Name author </a:t>
            </a:r>
            <a:r>
              <a:rPr lang="nl-NL" dirty="0"/>
              <a:t>|</a:t>
            </a:r>
            <a:r>
              <a:rPr lang="en-GB" noProof="0" dirty="0"/>
              <a:t> Date</a:t>
            </a:r>
          </a:p>
        </p:txBody>
      </p:sp>
      <p:sp>
        <p:nvSpPr>
          <p:cNvPr id="6" name="Text Placeholder 5"/>
          <p:cNvSpPr>
            <a:spLocks noGrp="1"/>
          </p:cNvSpPr>
          <p:nvPr>
            <p:ph type="body" sz="quarter" idx="10" hasCustomPrompt="1"/>
          </p:nvPr>
        </p:nvSpPr>
        <p:spPr>
          <a:xfrm>
            <a:off x="2076141" y="2894479"/>
            <a:ext cx="6670984" cy="818212"/>
          </a:xfrm>
          <a:prstGeom prst="rect">
            <a:avLst/>
          </a:prstGeom>
        </p:spPr>
        <p:txBody>
          <a:bodyPr wrap="square" lIns="0" tIns="0" rIns="0" bIns="0" anchor="b" anchorCtr="0">
            <a:noAutofit/>
          </a:bodyPr>
          <a:lstStyle>
            <a:lvl1pPr marL="0" indent="0" algn="l">
              <a:buNone/>
              <a:defRPr sz="2400" b="1"/>
            </a:lvl1pPr>
          </a:lstStyle>
          <a:p>
            <a:pPr lvl="0"/>
            <a:r>
              <a:rPr lang="en-GB" noProof="0" dirty="0"/>
              <a:t>Click to edit Overall title</a:t>
            </a:r>
          </a:p>
        </p:txBody>
      </p:sp>
      <p:grpSp>
        <p:nvGrpSpPr>
          <p:cNvPr id="9" name="Group 8">
            <a:extLst>
              <a:ext uri="{FF2B5EF4-FFF2-40B4-BE49-F238E27FC236}">
                <a16:creationId xmlns:a16="http://schemas.microsoft.com/office/drawing/2014/main" id="{45896709-076A-4371-AF74-3072612E42EF}"/>
              </a:ext>
            </a:extLst>
          </p:cNvPr>
          <p:cNvGrpSpPr/>
          <p:nvPr userDrawn="1"/>
        </p:nvGrpSpPr>
        <p:grpSpPr>
          <a:xfrm>
            <a:off x="490020" y="329048"/>
            <a:ext cx="3322765" cy="1826989"/>
            <a:chOff x="2736110" y="828575"/>
            <a:chExt cx="3674092" cy="2020163"/>
          </a:xfrm>
        </p:grpSpPr>
        <p:grpSp>
          <p:nvGrpSpPr>
            <p:cNvPr id="11" name="Graphic 3">
              <a:extLst>
                <a:ext uri="{FF2B5EF4-FFF2-40B4-BE49-F238E27FC236}">
                  <a16:creationId xmlns:a16="http://schemas.microsoft.com/office/drawing/2014/main" id="{FCBBF973-85F0-49E9-AF1D-651E97193F99}"/>
                </a:ext>
              </a:extLst>
            </p:cNvPr>
            <p:cNvGrpSpPr/>
            <p:nvPr/>
          </p:nvGrpSpPr>
          <p:grpSpPr>
            <a:xfrm>
              <a:off x="2736110" y="828575"/>
              <a:ext cx="1537413" cy="2020163"/>
              <a:chOff x="2736110" y="828575"/>
              <a:chExt cx="1537413" cy="2020163"/>
            </a:xfrm>
          </p:grpSpPr>
          <p:sp>
            <p:nvSpPr>
              <p:cNvPr id="49" name="Freeform: Shape 48">
                <a:extLst>
                  <a:ext uri="{FF2B5EF4-FFF2-40B4-BE49-F238E27FC236}">
                    <a16:creationId xmlns:a16="http://schemas.microsoft.com/office/drawing/2014/main" id="{FCCA0E6B-7BF2-49DC-9BC9-3B39709B7B7C}"/>
                  </a:ext>
                </a:extLst>
              </p:cNvPr>
              <p:cNvSpPr/>
              <p:nvPr/>
            </p:nvSpPr>
            <p:spPr>
              <a:xfrm>
                <a:off x="3676715" y="828575"/>
                <a:ext cx="416685" cy="322774"/>
              </a:xfrm>
              <a:custGeom>
                <a:avLst/>
                <a:gdLst>
                  <a:gd name="connsiteX0" fmla="*/ 30470 w 416685"/>
                  <a:gd name="connsiteY0" fmla="*/ 159013 h 322774"/>
                  <a:gd name="connsiteX1" fmla="*/ 88124 w 416685"/>
                  <a:gd name="connsiteY1" fmla="*/ 208461 h 322774"/>
                  <a:gd name="connsiteX2" fmla="*/ 94121 w 416685"/>
                  <a:gd name="connsiteY2" fmla="*/ 286210 h 322774"/>
                  <a:gd name="connsiteX3" fmla="*/ 117477 w 416685"/>
                  <a:gd name="connsiteY3" fmla="*/ 321350 h 322774"/>
                  <a:gd name="connsiteX4" fmla="*/ 123790 w 416685"/>
                  <a:gd name="connsiteY4" fmla="*/ 321140 h 322774"/>
                  <a:gd name="connsiteX5" fmla="*/ 185337 w 416685"/>
                  <a:gd name="connsiteY5" fmla="*/ 202149 h 322774"/>
                  <a:gd name="connsiteX6" fmla="*/ 384181 w 416685"/>
                  <a:gd name="connsiteY6" fmla="*/ 59907 h 322774"/>
                  <a:gd name="connsiteX7" fmla="*/ 415744 w 416685"/>
                  <a:gd name="connsiteY7" fmla="*/ 4567 h 322774"/>
                  <a:gd name="connsiteX8" fmla="*/ 349883 w 416685"/>
                  <a:gd name="connsiteY8" fmla="*/ 13510 h 322774"/>
                  <a:gd name="connsiteX9" fmla="*/ 134100 w 416685"/>
                  <a:gd name="connsiteY9" fmla="*/ 125136 h 322774"/>
                  <a:gd name="connsiteX10" fmla="*/ 3221 w 416685"/>
                  <a:gd name="connsiteY10" fmla="*/ 135236 h 322774"/>
                  <a:gd name="connsiteX11" fmla="*/ 1958 w 416685"/>
                  <a:gd name="connsiteY11" fmla="*/ 142706 h 322774"/>
                  <a:gd name="connsiteX12" fmla="*/ 20791 w 416685"/>
                  <a:gd name="connsiteY12" fmla="*/ 173216 h 322774"/>
                  <a:gd name="connsiteX13" fmla="*/ 30575 w 416685"/>
                  <a:gd name="connsiteY13" fmla="*/ 159013 h 3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685" h="322774">
                    <a:moveTo>
                      <a:pt x="30470" y="159013"/>
                    </a:moveTo>
                    <a:cubicBezTo>
                      <a:pt x="46462" y="149229"/>
                      <a:pt x="72238" y="171323"/>
                      <a:pt x="88124" y="208461"/>
                    </a:cubicBezTo>
                    <a:cubicBezTo>
                      <a:pt x="101486" y="239393"/>
                      <a:pt x="103380" y="271271"/>
                      <a:pt x="94121" y="286210"/>
                    </a:cubicBezTo>
                    <a:cubicBezTo>
                      <a:pt x="94121" y="286210"/>
                      <a:pt x="116636" y="320614"/>
                      <a:pt x="117477" y="321350"/>
                    </a:cubicBezTo>
                    <a:cubicBezTo>
                      <a:pt x="118214" y="322192"/>
                      <a:pt x="121896" y="324191"/>
                      <a:pt x="123790" y="321140"/>
                    </a:cubicBezTo>
                    <a:cubicBezTo>
                      <a:pt x="125578" y="317983"/>
                      <a:pt x="185337" y="202149"/>
                      <a:pt x="185337" y="202149"/>
                    </a:cubicBezTo>
                    <a:cubicBezTo>
                      <a:pt x="185337" y="202149"/>
                      <a:pt x="370714" y="72847"/>
                      <a:pt x="384181" y="59907"/>
                    </a:cubicBezTo>
                    <a:cubicBezTo>
                      <a:pt x="397648" y="46966"/>
                      <a:pt x="421741" y="16456"/>
                      <a:pt x="415744" y="4567"/>
                    </a:cubicBezTo>
                    <a:cubicBezTo>
                      <a:pt x="408590" y="-9531"/>
                      <a:pt x="349883" y="13510"/>
                      <a:pt x="349883" y="13510"/>
                    </a:cubicBezTo>
                    <a:lnTo>
                      <a:pt x="134100" y="125136"/>
                    </a:lnTo>
                    <a:cubicBezTo>
                      <a:pt x="134100" y="125136"/>
                      <a:pt x="9428" y="134500"/>
                      <a:pt x="3221" y="135236"/>
                    </a:cubicBezTo>
                    <a:cubicBezTo>
                      <a:pt x="-3197" y="135973"/>
                      <a:pt x="1958" y="142706"/>
                      <a:pt x="1958" y="142706"/>
                    </a:cubicBezTo>
                    <a:lnTo>
                      <a:pt x="20791" y="173216"/>
                    </a:lnTo>
                    <a:cubicBezTo>
                      <a:pt x="22790" y="166694"/>
                      <a:pt x="26051" y="161644"/>
                      <a:pt x="30575" y="159013"/>
                    </a:cubicBezTo>
                  </a:path>
                </a:pathLst>
              </a:custGeom>
              <a:solidFill>
                <a:srgbClr val="004C7D"/>
              </a:solidFill>
              <a:ln w="10508" cap="flat">
                <a:noFill/>
                <a:prstDash val="solid"/>
                <a:miter/>
              </a:ln>
            </p:spPr>
            <p:txBody>
              <a:bodyPr rtlCol="0" anchor="ctr"/>
              <a:lstStyle/>
              <a:p>
                <a:endParaRPr lang="nl-NL"/>
              </a:p>
            </p:txBody>
          </p:sp>
          <p:sp>
            <p:nvSpPr>
              <p:cNvPr id="50" name="Freeform: Shape 49">
                <a:extLst>
                  <a:ext uri="{FF2B5EF4-FFF2-40B4-BE49-F238E27FC236}">
                    <a16:creationId xmlns:a16="http://schemas.microsoft.com/office/drawing/2014/main" id="{10D9A0AC-64C8-45E5-B71B-832DFE2DD345}"/>
                  </a:ext>
                </a:extLst>
              </p:cNvPr>
              <p:cNvSpPr/>
              <p:nvPr/>
            </p:nvSpPr>
            <p:spPr>
              <a:xfrm>
                <a:off x="3680355" y="1027254"/>
                <a:ext cx="53750" cy="90721"/>
              </a:xfrm>
              <a:custGeom>
                <a:avLst/>
                <a:gdLst>
                  <a:gd name="connsiteX0" fmla="*/ 46715 w 53750"/>
                  <a:gd name="connsiteY0" fmla="*/ 33243 h 90721"/>
                  <a:gd name="connsiteX1" fmla="*/ 8735 w 53750"/>
                  <a:gd name="connsiteY1" fmla="*/ 1681 h 90721"/>
                  <a:gd name="connsiteX2" fmla="*/ 6946 w 53750"/>
                  <a:gd name="connsiteY2" fmla="*/ 57441 h 90721"/>
                  <a:gd name="connsiteX3" fmla="*/ 45032 w 53750"/>
                  <a:gd name="connsiteY3" fmla="*/ 89004 h 90721"/>
                  <a:gd name="connsiteX4" fmla="*/ 46715 w 53750"/>
                  <a:gd name="connsiteY4" fmla="*/ 33243 h 90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50" h="90721">
                    <a:moveTo>
                      <a:pt x="46715" y="33243"/>
                    </a:moveTo>
                    <a:cubicBezTo>
                      <a:pt x="36615" y="9045"/>
                      <a:pt x="19571" y="-5053"/>
                      <a:pt x="8735" y="1681"/>
                    </a:cubicBezTo>
                    <a:cubicBezTo>
                      <a:pt x="-2207" y="8309"/>
                      <a:pt x="-2943" y="33348"/>
                      <a:pt x="6946" y="57441"/>
                    </a:cubicBezTo>
                    <a:cubicBezTo>
                      <a:pt x="17046" y="81639"/>
                      <a:pt x="34090" y="95842"/>
                      <a:pt x="45032" y="89004"/>
                    </a:cubicBezTo>
                    <a:cubicBezTo>
                      <a:pt x="55973" y="82376"/>
                      <a:pt x="56710" y="57231"/>
                      <a:pt x="46715" y="33243"/>
                    </a:cubicBezTo>
                  </a:path>
                </a:pathLst>
              </a:custGeom>
              <a:solidFill>
                <a:srgbClr val="004C7D"/>
              </a:solidFill>
              <a:ln w="10508" cap="flat">
                <a:noFill/>
                <a:prstDash val="solid"/>
                <a:miter/>
              </a:ln>
            </p:spPr>
            <p:txBody>
              <a:bodyPr rtlCol="0" anchor="ctr"/>
              <a:lstStyle/>
              <a:p>
                <a:endParaRPr lang="nl-NL"/>
              </a:p>
            </p:txBody>
          </p:sp>
          <p:sp>
            <p:nvSpPr>
              <p:cNvPr id="51" name="Freeform: Shape 50">
                <a:extLst>
                  <a:ext uri="{FF2B5EF4-FFF2-40B4-BE49-F238E27FC236}">
                    <a16:creationId xmlns:a16="http://schemas.microsoft.com/office/drawing/2014/main" id="{4564DCCC-B15F-43C2-BE12-35CC63A83B3F}"/>
                  </a:ext>
                </a:extLst>
              </p:cNvPr>
              <p:cNvSpPr/>
              <p:nvPr/>
            </p:nvSpPr>
            <p:spPr>
              <a:xfrm>
                <a:off x="2887062" y="2460997"/>
                <a:ext cx="526052" cy="387740"/>
              </a:xfrm>
              <a:custGeom>
                <a:avLst/>
                <a:gdLst>
                  <a:gd name="connsiteX0" fmla="*/ 522593 w 526052"/>
                  <a:gd name="connsiteY0" fmla="*/ 285362 h 387740"/>
                  <a:gd name="connsiteX1" fmla="*/ 280929 w 526052"/>
                  <a:gd name="connsiteY1" fmla="*/ 256430 h 387740"/>
                  <a:gd name="connsiteX2" fmla="*/ 280403 w 526052"/>
                  <a:gd name="connsiteY2" fmla="*/ 254326 h 387740"/>
                  <a:gd name="connsiteX3" fmla="*/ 392135 w 526052"/>
                  <a:gd name="connsiteY3" fmla="*/ 169738 h 387740"/>
                  <a:gd name="connsiteX4" fmla="*/ 393187 w 526052"/>
                  <a:gd name="connsiteY4" fmla="*/ 169422 h 387740"/>
                  <a:gd name="connsiteX5" fmla="*/ 467254 w 526052"/>
                  <a:gd name="connsiteY5" fmla="*/ 170369 h 387740"/>
                  <a:gd name="connsiteX6" fmla="*/ 473882 w 526052"/>
                  <a:gd name="connsiteY6" fmla="*/ 169107 h 387740"/>
                  <a:gd name="connsiteX7" fmla="*/ 489453 w 526052"/>
                  <a:gd name="connsiteY7" fmla="*/ 161532 h 387740"/>
                  <a:gd name="connsiteX8" fmla="*/ 489558 w 526052"/>
                  <a:gd name="connsiteY8" fmla="*/ 159322 h 387740"/>
                  <a:gd name="connsiteX9" fmla="*/ 417490 w 526052"/>
                  <a:gd name="connsiteY9" fmla="*/ 135019 h 387740"/>
                  <a:gd name="connsiteX10" fmla="*/ 415807 w 526052"/>
                  <a:gd name="connsiteY10" fmla="*/ 132494 h 387740"/>
                  <a:gd name="connsiteX11" fmla="*/ 415807 w 526052"/>
                  <a:gd name="connsiteY11" fmla="*/ 1825 h 387740"/>
                  <a:gd name="connsiteX12" fmla="*/ 411598 w 526052"/>
                  <a:gd name="connsiteY12" fmla="*/ 668 h 387740"/>
                  <a:gd name="connsiteX13" fmla="*/ 393923 w 526052"/>
                  <a:gd name="connsiteY13" fmla="*/ 9716 h 387740"/>
                  <a:gd name="connsiteX14" fmla="*/ 391504 w 526052"/>
                  <a:gd name="connsiteY14" fmla="*/ 12451 h 387740"/>
                  <a:gd name="connsiteX15" fmla="*/ 358573 w 526052"/>
                  <a:gd name="connsiteY15" fmla="*/ 115661 h 387740"/>
                  <a:gd name="connsiteX16" fmla="*/ 358047 w 526052"/>
                  <a:gd name="connsiteY16" fmla="*/ 115976 h 387740"/>
                  <a:gd name="connsiteX17" fmla="*/ 324801 w 526052"/>
                  <a:gd name="connsiteY17" fmla="*/ 105456 h 387740"/>
                  <a:gd name="connsiteX18" fmla="*/ 320909 w 526052"/>
                  <a:gd name="connsiteY18" fmla="*/ 105561 h 387740"/>
                  <a:gd name="connsiteX19" fmla="*/ 304917 w 526052"/>
                  <a:gd name="connsiteY19" fmla="*/ 113136 h 387740"/>
                  <a:gd name="connsiteX20" fmla="*/ 304286 w 526052"/>
                  <a:gd name="connsiteY20" fmla="*/ 115556 h 387740"/>
                  <a:gd name="connsiteX21" fmla="*/ 336479 w 526052"/>
                  <a:gd name="connsiteY21" fmla="*/ 150800 h 387740"/>
                  <a:gd name="connsiteX22" fmla="*/ 336164 w 526052"/>
                  <a:gd name="connsiteY22" fmla="*/ 152063 h 387740"/>
                  <a:gd name="connsiteX23" fmla="*/ 192344 w 526052"/>
                  <a:gd name="connsiteY23" fmla="*/ 226445 h 387740"/>
                  <a:gd name="connsiteX24" fmla="*/ 190555 w 526052"/>
                  <a:gd name="connsiteY24" fmla="*/ 226445 h 387740"/>
                  <a:gd name="connsiteX25" fmla="*/ 72406 w 526052"/>
                  <a:gd name="connsiteY25" fmla="*/ 139648 h 387740"/>
                  <a:gd name="connsiteX26" fmla="*/ 69039 w 526052"/>
                  <a:gd name="connsiteY26" fmla="*/ 139227 h 387740"/>
                  <a:gd name="connsiteX27" fmla="*/ 52837 w 526052"/>
                  <a:gd name="connsiteY27" fmla="*/ 147750 h 387740"/>
                  <a:gd name="connsiteX28" fmla="*/ 52311 w 526052"/>
                  <a:gd name="connsiteY28" fmla="*/ 149643 h 387740"/>
                  <a:gd name="connsiteX29" fmla="*/ 103969 w 526052"/>
                  <a:gd name="connsiteY29" fmla="*/ 268003 h 387740"/>
                  <a:gd name="connsiteX30" fmla="*/ 103337 w 526052"/>
                  <a:gd name="connsiteY30" fmla="*/ 269791 h 387740"/>
                  <a:gd name="connsiteX31" fmla="*/ 25588 w 526052"/>
                  <a:gd name="connsiteY31" fmla="*/ 325868 h 387740"/>
                  <a:gd name="connsiteX32" fmla="*/ 128 w 526052"/>
                  <a:gd name="connsiteY32" fmla="*/ 379840 h 387740"/>
                  <a:gd name="connsiteX33" fmla="*/ 205600 w 526052"/>
                  <a:gd name="connsiteY33" fmla="*/ 304300 h 387740"/>
                  <a:gd name="connsiteX34" fmla="*/ 211807 w 526052"/>
                  <a:gd name="connsiteY34" fmla="*/ 302827 h 387740"/>
                  <a:gd name="connsiteX35" fmla="*/ 504392 w 526052"/>
                  <a:gd name="connsiteY35" fmla="*/ 298408 h 387740"/>
                  <a:gd name="connsiteX36" fmla="*/ 509021 w 526052"/>
                  <a:gd name="connsiteY36" fmla="*/ 297356 h 387740"/>
                  <a:gd name="connsiteX37" fmla="*/ 525539 w 526052"/>
                  <a:gd name="connsiteY37" fmla="*/ 287992 h 387740"/>
                  <a:gd name="connsiteX38" fmla="*/ 522593 w 526052"/>
                  <a:gd name="connsiteY38" fmla="*/ 285573 h 38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6052" h="387740">
                    <a:moveTo>
                      <a:pt x="522593" y="285362"/>
                    </a:moveTo>
                    <a:lnTo>
                      <a:pt x="280929" y="256430"/>
                    </a:lnTo>
                    <a:cubicBezTo>
                      <a:pt x="280929" y="256430"/>
                      <a:pt x="278194" y="256009"/>
                      <a:pt x="280403" y="254326"/>
                    </a:cubicBezTo>
                    <a:cubicBezTo>
                      <a:pt x="284086" y="251485"/>
                      <a:pt x="392135" y="169738"/>
                      <a:pt x="392135" y="169738"/>
                    </a:cubicBezTo>
                    <a:cubicBezTo>
                      <a:pt x="392135" y="169738"/>
                      <a:pt x="392556" y="169422"/>
                      <a:pt x="393187" y="169422"/>
                    </a:cubicBezTo>
                    <a:cubicBezTo>
                      <a:pt x="400131" y="169738"/>
                      <a:pt x="455155" y="170580"/>
                      <a:pt x="467254" y="170369"/>
                    </a:cubicBezTo>
                    <a:cubicBezTo>
                      <a:pt x="468727" y="170369"/>
                      <a:pt x="472514" y="169633"/>
                      <a:pt x="473882" y="169107"/>
                    </a:cubicBezTo>
                    <a:cubicBezTo>
                      <a:pt x="478090" y="167423"/>
                      <a:pt x="488506" y="162268"/>
                      <a:pt x="489453" y="161532"/>
                    </a:cubicBezTo>
                    <a:cubicBezTo>
                      <a:pt x="491452" y="160269"/>
                      <a:pt x="490189" y="159533"/>
                      <a:pt x="489558" y="159322"/>
                    </a:cubicBezTo>
                    <a:cubicBezTo>
                      <a:pt x="488927" y="159112"/>
                      <a:pt x="428432" y="138702"/>
                      <a:pt x="417490" y="135019"/>
                    </a:cubicBezTo>
                    <a:cubicBezTo>
                      <a:pt x="416438" y="134598"/>
                      <a:pt x="415807" y="133757"/>
                      <a:pt x="415807" y="132494"/>
                    </a:cubicBezTo>
                    <a:cubicBezTo>
                      <a:pt x="415807" y="116187"/>
                      <a:pt x="415807" y="4876"/>
                      <a:pt x="415807" y="1825"/>
                    </a:cubicBezTo>
                    <a:cubicBezTo>
                      <a:pt x="415912" y="-1436"/>
                      <a:pt x="411598" y="668"/>
                      <a:pt x="411598" y="668"/>
                    </a:cubicBezTo>
                    <a:cubicBezTo>
                      <a:pt x="411598" y="668"/>
                      <a:pt x="398763" y="7191"/>
                      <a:pt x="393923" y="9716"/>
                    </a:cubicBezTo>
                    <a:cubicBezTo>
                      <a:pt x="392871" y="10242"/>
                      <a:pt x="391924" y="11294"/>
                      <a:pt x="391504" y="12451"/>
                    </a:cubicBezTo>
                    <a:cubicBezTo>
                      <a:pt x="387190" y="25602"/>
                      <a:pt x="360572" y="109454"/>
                      <a:pt x="358573" y="115661"/>
                    </a:cubicBezTo>
                    <a:cubicBezTo>
                      <a:pt x="358573" y="115871"/>
                      <a:pt x="358258" y="115976"/>
                      <a:pt x="358047" y="115976"/>
                    </a:cubicBezTo>
                    <a:cubicBezTo>
                      <a:pt x="352997" y="114504"/>
                      <a:pt x="331535" y="107455"/>
                      <a:pt x="324801" y="105456"/>
                    </a:cubicBezTo>
                    <a:cubicBezTo>
                      <a:pt x="322908" y="104930"/>
                      <a:pt x="322066" y="105035"/>
                      <a:pt x="320909" y="105561"/>
                    </a:cubicBezTo>
                    <a:cubicBezTo>
                      <a:pt x="318910" y="106613"/>
                      <a:pt x="309125" y="111137"/>
                      <a:pt x="304917" y="113136"/>
                    </a:cubicBezTo>
                    <a:cubicBezTo>
                      <a:pt x="303654" y="113662"/>
                      <a:pt x="303865" y="114924"/>
                      <a:pt x="304286" y="115556"/>
                    </a:cubicBezTo>
                    <a:cubicBezTo>
                      <a:pt x="304706" y="116187"/>
                      <a:pt x="332166" y="145540"/>
                      <a:pt x="336479" y="150800"/>
                    </a:cubicBezTo>
                    <a:cubicBezTo>
                      <a:pt x="337005" y="151432"/>
                      <a:pt x="336164" y="152063"/>
                      <a:pt x="336164" y="152063"/>
                    </a:cubicBezTo>
                    <a:lnTo>
                      <a:pt x="192344" y="226445"/>
                    </a:lnTo>
                    <a:cubicBezTo>
                      <a:pt x="192344" y="226445"/>
                      <a:pt x="191502" y="226972"/>
                      <a:pt x="190555" y="226445"/>
                    </a:cubicBezTo>
                    <a:cubicBezTo>
                      <a:pt x="180666" y="219712"/>
                      <a:pt x="85452" y="148907"/>
                      <a:pt x="72406" y="139648"/>
                    </a:cubicBezTo>
                    <a:cubicBezTo>
                      <a:pt x="71459" y="139017"/>
                      <a:pt x="70407" y="138807"/>
                      <a:pt x="69039" y="139227"/>
                    </a:cubicBezTo>
                    <a:cubicBezTo>
                      <a:pt x="65988" y="140174"/>
                      <a:pt x="58413" y="142910"/>
                      <a:pt x="52837" y="147750"/>
                    </a:cubicBezTo>
                    <a:cubicBezTo>
                      <a:pt x="51890" y="148486"/>
                      <a:pt x="52311" y="149643"/>
                      <a:pt x="52311" y="149643"/>
                    </a:cubicBezTo>
                    <a:cubicBezTo>
                      <a:pt x="52311" y="149643"/>
                      <a:pt x="103758" y="267372"/>
                      <a:pt x="103969" y="268003"/>
                    </a:cubicBezTo>
                    <a:cubicBezTo>
                      <a:pt x="104179" y="268634"/>
                      <a:pt x="103969" y="269476"/>
                      <a:pt x="103337" y="269791"/>
                    </a:cubicBezTo>
                    <a:cubicBezTo>
                      <a:pt x="94815" y="273579"/>
                      <a:pt x="26956" y="303668"/>
                      <a:pt x="25588" y="325868"/>
                    </a:cubicBezTo>
                    <a:cubicBezTo>
                      <a:pt x="17908" y="337230"/>
                      <a:pt x="-1766" y="363637"/>
                      <a:pt x="128" y="379840"/>
                    </a:cubicBezTo>
                    <a:cubicBezTo>
                      <a:pt x="9281" y="415926"/>
                      <a:pt x="182770" y="317451"/>
                      <a:pt x="205600" y="304300"/>
                    </a:cubicBezTo>
                    <a:cubicBezTo>
                      <a:pt x="207178" y="303353"/>
                      <a:pt x="209388" y="302827"/>
                      <a:pt x="211807" y="302827"/>
                    </a:cubicBezTo>
                    <a:cubicBezTo>
                      <a:pt x="244738" y="302406"/>
                      <a:pt x="485139" y="299776"/>
                      <a:pt x="504392" y="298408"/>
                    </a:cubicBezTo>
                    <a:cubicBezTo>
                      <a:pt x="506496" y="298303"/>
                      <a:pt x="508495" y="297566"/>
                      <a:pt x="509021" y="297356"/>
                    </a:cubicBezTo>
                    <a:cubicBezTo>
                      <a:pt x="511652" y="295988"/>
                      <a:pt x="520384" y="291570"/>
                      <a:pt x="525539" y="287992"/>
                    </a:cubicBezTo>
                    <a:cubicBezTo>
                      <a:pt x="527643" y="286204"/>
                      <a:pt x="522593" y="285573"/>
                      <a:pt x="522593" y="285573"/>
                    </a:cubicBezTo>
                  </a:path>
                </a:pathLst>
              </a:custGeom>
              <a:solidFill>
                <a:srgbClr val="009FE3"/>
              </a:solidFill>
              <a:ln w="10508" cap="flat">
                <a:noFill/>
                <a:prstDash val="solid"/>
                <a:miter/>
              </a:ln>
            </p:spPr>
            <p:txBody>
              <a:bodyPr rtlCol="0" anchor="ctr"/>
              <a:lstStyle/>
              <a:p>
                <a:endParaRPr lang="nl-NL"/>
              </a:p>
            </p:txBody>
          </p:sp>
          <p:grpSp>
            <p:nvGrpSpPr>
              <p:cNvPr id="52" name="Graphic 3">
                <a:extLst>
                  <a:ext uri="{FF2B5EF4-FFF2-40B4-BE49-F238E27FC236}">
                    <a16:creationId xmlns:a16="http://schemas.microsoft.com/office/drawing/2014/main" id="{EE604B19-73BD-4FDE-AEE4-980CF8B9A1A2}"/>
                  </a:ext>
                </a:extLst>
              </p:cNvPr>
              <p:cNvGrpSpPr/>
              <p:nvPr/>
            </p:nvGrpSpPr>
            <p:grpSpPr>
              <a:xfrm>
                <a:off x="2736110" y="1070279"/>
                <a:ext cx="905635" cy="1223271"/>
                <a:chOff x="2736110" y="1070279"/>
                <a:chExt cx="905635" cy="1223271"/>
              </a:xfrm>
              <a:solidFill>
                <a:srgbClr val="004C7D"/>
              </a:solidFill>
            </p:grpSpPr>
            <p:sp>
              <p:nvSpPr>
                <p:cNvPr id="59" name="Freeform: Shape 58">
                  <a:extLst>
                    <a:ext uri="{FF2B5EF4-FFF2-40B4-BE49-F238E27FC236}">
                      <a16:creationId xmlns:a16="http://schemas.microsoft.com/office/drawing/2014/main" id="{5E1CC45F-3750-4FF3-8FE0-A9DDFCEB2CC8}"/>
                    </a:ext>
                  </a:extLst>
                </p:cNvPr>
                <p:cNvSpPr/>
                <p:nvPr/>
              </p:nvSpPr>
              <p:spPr>
                <a:xfrm>
                  <a:off x="2736110" y="1457055"/>
                  <a:ext cx="759823" cy="836494"/>
                </a:xfrm>
                <a:custGeom>
                  <a:avLst/>
                  <a:gdLst>
                    <a:gd name="connsiteX0" fmla="*/ 746139 w 759823"/>
                    <a:gd name="connsiteY0" fmla="*/ 739799 h 836494"/>
                    <a:gd name="connsiteX1" fmla="*/ 122884 w 759823"/>
                    <a:gd name="connsiteY1" fmla="*/ 318755 h 836494"/>
                    <a:gd name="connsiteX2" fmla="*/ 241770 w 759823"/>
                    <a:gd name="connsiteY2" fmla="*/ 101078 h 836494"/>
                    <a:gd name="connsiteX3" fmla="*/ 247135 w 759823"/>
                    <a:gd name="connsiteY3" fmla="*/ 89505 h 836494"/>
                    <a:gd name="connsiteX4" fmla="*/ 247135 w 759823"/>
                    <a:gd name="connsiteY4" fmla="*/ 6496 h 836494"/>
                    <a:gd name="connsiteX5" fmla="*/ 237140 w 759823"/>
                    <a:gd name="connsiteY5" fmla="*/ 1025 h 836494"/>
                    <a:gd name="connsiteX6" fmla="*/ 118360 w 759823"/>
                    <a:gd name="connsiteY6" fmla="*/ 85402 h 836494"/>
                    <a:gd name="connsiteX7" fmla="*/ 0 w 759823"/>
                    <a:gd name="connsiteY7" fmla="*/ 326961 h 836494"/>
                    <a:gd name="connsiteX8" fmla="*/ 594534 w 759823"/>
                    <a:gd name="connsiteY8" fmla="*/ 835118 h 836494"/>
                    <a:gd name="connsiteX9" fmla="*/ 630094 w 759823"/>
                    <a:gd name="connsiteY9" fmla="*/ 831857 h 836494"/>
                    <a:gd name="connsiteX10" fmla="*/ 751505 w 759823"/>
                    <a:gd name="connsiteY10" fmla="*/ 758211 h 836494"/>
                    <a:gd name="connsiteX11" fmla="*/ 746244 w 759823"/>
                    <a:gd name="connsiteY11" fmla="*/ 739694 h 83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823" h="836494">
                      <a:moveTo>
                        <a:pt x="746139" y="739799"/>
                      </a:moveTo>
                      <a:cubicBezTo>
                        <a:pt x="404001" y="713076"/>
                        <a:pt x="122568" y="535064"/>
                        <a:pt x="122884" y="318755"/>
                      </a:cubicBezTo>
                      <a:cubicBezTo>
                        <a:pt x="122989" y="234693"/>
                        <a:pt x="166019" y="166834"/>
                        <a:pt x="241770" y="101078"/>
                      </a:cubicBezTo>
                      <a:cubicBezTo>
                        <a:pt x="245136" y="98132"/>
                        <a:pt x="247135" y="93924"/>
                        <a:pt x="247135" y="89505"/>
                      </a:cubicBezTo>
                      <a:lnTo>
                        <a:pt x="247135" y="6496"/>
                      </a:lnTo>
                      <a:cubicBezTo>
                        <a:pt x="247135" y="1341"/>
                        <a:pt x="241454" y="-1710"/>
                        <a:pt x="237140" y="1025"/>
                      </a:cubicBezTo>
                      <a:cubicBezTo>
                        <a:pt x="185799" y="34271"/>
                        <a:pt x="143926" y="63519"/>
                        <a:pt x="118360" y="85402"/>
                      </a:cubicBezTo>
                      <a:cubicBezTo>
                        <a:pt x="23041" y="170937"/>
                        <a:pt x="106" y="235956"/>
                        <a:pt x="0" y="326961"/>
                      </a:cubicBezTo>
                      <a:cubicBezTo>
                        <a:pt x="-315" y="560629"/>
                        <a:pt x="248082" y="778516"/>
                        <a:pt x="594534" y="835118"/>
                      </a:cubicBezTo>
                      <a:cubicBezTo>
                        <a:pt x="612314" y="838064"/>
                        <a:pt x="621257" y="835960"/>
                        <a:pt x="630094" y="831857"/>
                      </a:cubicBezTo>
                      <a:cubicBezTo>
                        <a:pt x="646507" y="824282"/>
                        <a:pt x="748454" y="760105"/>
                        <a:pt x="751505" y="758211"/>
                      </a:cubicBezTo>
                      <a:cubicBezTo>
                        <a:pt x="763920" y="750320"/>
                        <a:pt x="762657" y="740957"/>
                        <a:pt x="746244" y="739694"/>
                      </a:cubicBezTo>
                      <a:close/>
                    </a:path>
                  </a:pathLst>
                </a:custGeom>
                <a:solidFill>
                  <a:srgbClr val="004C7D"/>
                </a:solidFill>
                <a:ln w="10508" cap="flat">
                  <a:noFill/>
                  <a:prstDash val="solid"/>
                  <a:miter/>
                </a:ln>
              </p:spPr>
              <p:txBody>
                <a:bodyPr rtlCol="0" anchor="ctr"/>
                <a:lstStyle/>
                <a:p>
                  <a:endParaRPr lang="nl-NL"/>
                </a:p>
              </p:txBody>
            </p:sp>
            <p:sp>
              <p:nvSpPr>
                <p:cNvPr id="60" name="Freeform: Shape 59">
                  <a:extLst>
                    <a:ext uri="{FF2B5EF4-FFF2-40B4-BE49-F238E27FC236}">
                      <a16:creationId xmlns:a16="http://schemas.microsoft.com/office/drawing/2014/main" id="{11B56B3E-DF8B-4815-A55E-59C717475564}"/>
                    </a:ext>
                  </a:extLst>
                </p:cNvPr>
                <p:cNvSpPr/>
                <p:nvPr/>
              </p:nvSpPr>
              <p:spPr>
                <a:xfrm>
                  <a:off x="3384247" y="1070279"/>
                  <a:ext cx="257498" cy="151082"/>
                </a:xfrm>
                <a:custGeom>
                  <a:avLst/>
                  <a:gdLst>
                    <a:gd name="connsiteX0" fmla="*/ 257499 w 257498"/>
                    <a:gd name="connsiteY0" fmla="*/ 8314 h 151082"/>
                    <a:gd name="connsiteX1" fmla="*/ 248556 w 257498"/>
                    <a:gd name="connsiteY1" fmla="*/ 1686 h 151082"/>
                    <a:gd name="connsiteX2" fmla="*/ 2473 w 257498"/>
                    <a:gd name="connsiteY2" fmla="*/ 142034 h 151082"/>
                    <a:gd name="connsiteX3" fmla="*/ 4788 w 257498"/>
                    <a:gd name="connsiteY3" fmla="*/ 151082 h 151082"/>
                    <a:gd name="connsiteX4" fmla="*/ 115572 w 257498"/>
                    <a:gd name="connsiteY4" fmla="*/ 151082 h 151082"/>
                    <a:gd name="connsiteX5" fmla="*/ 128092 w 257498"/>
                    <a:gd name="connsiteY5" fmla="*/ 147610 h 151082"/>
                    <a:gd name="connsiteX6" fmla="*/ 249608 w 257498"/>
                    <a:gd name="connsiteY6" fmla="*/ 74490 h 151082"/>
                    <a:gd name="connsiteX7" fmla="*/ 256867 w 257498"/>
                    <a:gd name="connsiteY7" fmla="*/ 61655 h 151082"/>
                    <a:gd name="connsiteX8" fmla="*/ 257499 w 257498"/>
                    <a:gd name="connsiteY8" fmla="*/ 8314 h 1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498" h="151082">
                      <a:moveTo>
                        <a:pt x="257499" y="8314"/>
                      </a:moveTo>
                      <a:cubicBezTo>
                        <a:pt x="257499" y="4842"/>
                        <a:pt x="256762" y="-3575"/>
                        <a:pt x="248556" y="1686"/>
                      </a:cubicBezTo>
                      <a:cubicBezTo>
                        <a:pt x="226462" y="15889"/>
                        <a:pt x="125672" y="71965"/>
                        <a:pt x="2473" y="142034"/>
                      </a:cubicBezTo>
                      <a:cubicBezTo>
                        <a:pt x="-1840" y="144454"/>
                        <a:pt x="-157" y="151082"/>
                        <a:pt x="4788" y="151082"/>
                      </a:cubicBezTo>
                      <a:lnTo>
                        <a:pt x="115572" y="151082"/>
                      </a:lnTo>
                      <a:cubicBezTo>
                        <a:pt x="119991" y="151082"/>
                        <a:pt x="124305" y="149820"/>
                        <a:pt x="128092" y="147610"/>
                      </a:cubicBezTo>
                      <a:cubicBezTo>
                        <a:pt x="187535" y="112050"/>
                        <a:pt x="233406" y="84695"/>
                        <a:pt x="249608" y="74490"/>
                      </a:cubicBezTo>
                      <a:cubicBezTo>
                        <a:pt x="258025" y="69230"/>
                        <a:pt x="256867" y="61655"/>
                        <a:pt x="256867" y="61655"/>
                      </a:cubicBezTo>
                      <a:cubicBezTo>
                        <a:pt x="256867" y="61655"/>
                        <a:pt x="257499" y="11786"/>
                        <a:pt x="257499" y="8314"/>
                      </a:cubicBezTo>
                      <a:close/>
                    </a:path>
                  </a:pathLst>
                </a:custGeom>
                <a:solidFill>
                  <a:srgbClr val="004C7D"/>
                </a:solidFill>
                <a:ln w="10508" cap="flat">
                  <a:noFill/>
                  <a:prstDash val="solid"/>
                  <a:miter/>
                </a:ln>
              </p:spPr>
              <p:txBody>
                <a:bodyPr rtlCol="0" anchor="ctr"/>
                <a:lstStyle/>
                <a:p>
                  <a:endParaRPr lang="nl-NL"/>
                </a:p>
              </p:txBody>
            </p:sp>
          </p:grpSp>
          <p:sp>
            <p:nvSpPr>
              <p:cNvPr id="53" name="Freeform: Shape 52">
                <a:extLst>
                  <a:ext uri="{FF2B5EF4-FFF2-40B4-BE49-F238E27FC236}">
                    <a16:creationId xmlns:a16="http://schemas.microsoft.com/office/drawing/2014/main" id="{346CAB31-B47C-406D-950B-A07B6F4ED2F9}"/>
                  </a:ext>
                </a:extLst>
              </p:cNvPr>
              <p:cNvSpPr/>
              <p:nvPr/>
            </p:nvSpPr>
            <p:spPr>
              <a:xfrm>
                <a:off x="3350195" y="1295323"/>
                <a:ext cx="172314" cy="116781"/>
              </a:xfrm>
              <a:custGeom>
                <a:avLst/>
                <a:gdLst>
                  <a:gd name="connsiteX0" fmla="*/ 160145 w 172314"/>
                  <a:gd name="connsiteY0" fmla="*/ 0 h 116781"/>
                  <a:gd name="connsiteX1" fmla="*/ 86394 w 172314"/>
                  <a:gd name="connsiteY1" fmla="*/ 0 h 116781"/>
                  <a:gd name="connsiteX2" fmla="*/ 74295 w 172314"/>
                  <a:gd name="connsiteY2" fmla="*/ 5681 h 116781"/>
                  <a:gd name="connsiteX3" fmla="*/ 2122 w 172314"/>
                  <a:gd name="connsiteY3" fmla="*/ 101316 h 116781"/>
                  <a:gd name="connsiteX4" fmla="*/ 859 w 172314"/>
                  <a:gd name="connsiteY4" fmla="*/ 110785 h 116781"/>
                  <a:gd name="connsiteX5" fmla="*/ 12117 w 172314"/>
                  <a:gd name="connsiteY5" fmla="*/ 116782 h 116781"/>
                  <a:gd name="connsiteX6" fmla="*/ 67561 w 172314"/>
                  <a:gd name="connsiteY6" fmla="*/ 116782 h 116781"/>
                  <a:gd name="connsiteX7" fmla="*/ 78819 w 172314"/>
                  <a:gd name="connsiteY7" fmla="*/ 112152 h 116781"/>
                  <a:gd name="connsiteX8" fmla="*/ 169298 w 172314"/>
                  <a:gd name="connsiteY8" fmla="*/ 16518 h 116781"/>
                  <a:gd name="connsiteX9" fmla="*/ 171613 w 172314"/>
                  <a:gd name="connsiteY9" fmla="*/ 6418 h 116781"/>
                  <a:gd name="connsiteX10" fmla="*/ 160145 w 172314"/>
                  <a:gd name="connsiteY10" fmla="*/ 0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160145" y="0"/>
                    </a:moveTo>
                    <a:lnTo>
                      <a:pt x="86394" y="0"/>
                    </a:lnTo>
                    <a:cubicBezTo>
                      <a:pt x="81554" y="0"/>
                      <a:pt x="76925" y="2209"/>
                      <a:pt x="74295" y="5681"/>
                    </a:cubicBezTo>
                    <a:lnTo>
                      <a:pt x="2122" y="101316"/>
                    </a:lnTo>
                    <a:cubicBezTo>
                      <a:pt x="-193" y="104367"/>
                      <a:pt x="-614" y="107734"/>
                      <a:pt x="859" y="110785"/>
                    </a:cubicBezTo>
                    <a:cubicBezTo>
                      <a:pt x="2332" y="113730"/>
                      <a:pt x="6014" y="116782"/>
                      <a:pt x="12117" y="116782"/>
                    </a:cubicBezTo>
                    <a:lnTo>
                      <a:pt x="67561" y="116782"/>
                    </a:lnTo>
                    <a:cubicBezTo>
                      <a:pt x="71875" y="116782"/>
                      <a:pt x="76083" y="115098"/>
                      <a:pt x="78819" y="112152"/>
                    </a:cubicBezTo>
                    <a:lnTo>
                      <a:pt x="169298" y="16518"/>
                    </a:lnTo>
                    <a:cubicBezTo>
                      <a:pt x="173296" y="12309"/>
                      <a:pt x="172454" y="8311"/>
                      <a:pt x="171613" y="6418"/>
                    </a:cubicBezTo>
                    <a:cubicBezTo>
                      <a:pt x="170245" y="3261"/>
                      <a:pt x="166563" y="0"/>
                      <a:pt x="160145" y="0"/>
                    </a:cubicBezTo>
                    <a:close/>
                  </a:path>
                </a:pathLst>
              </a:custGeom>
              <a:solidFill>
                <a:srgbClr val="009FE3"/>
              </a:solidFill>
              <a:ln w="10508" cap="flat">
                <a:noFill/>
                <a:prstDash val="solid"/>
                <a:miter/>
              </a:ln>
            </p:spPr>
            <p:txBody>
              <a:bodyPr rtlCol="0" anchor="ctr"/>
              <a:lstStyle/>
              <a:p>
                <a:endParaRPr lang="nl-NL"/>
              </a:p>
            </p:txBody>
          </p:sp>
          <p:sp>
            <p:nvSpPr>
              <p:cNvPr id="54" name="Freeform: Shape 53">
                <a:extLst>
                  <a:ext uri="{FF2B5EF4-FFF2-40B4-BE49-F238E27FC236}">
                    <a16:creationId xmlns:a16="http://schemas.microsoft.com/office/drawing/2014/main" id="{F02D8E38-80A5-473C-A41A-7ED7C3B76228}"/>
                  </a:ext>
                </a:extLst>
              </p:cNvPr>
              <p:cNvSpPr/>
              <p:nvPr/>
            </p:nvSpPr>
            <p:spPr>
              <a:xfrm>
                <a:off x="2964027" y="1295323"/>
                <a:ext cx="172314" cy="116781"/>
              </a:xfrm>
              <a:custGeom>
                <a:avLst/>
                <a:gdLst>
                  <a:gd name="connsiteX0" fmla="*/ 98020 w 172314"/>
                  <a:gd name="connsiteY0" fmla="*/ 5681 h 116781"/>
                  <a:gd name="connsiteX1" fmla="*/ 85921 w 172314"/>
                  <a:gd name="connsiteY1" fmla="*/ 0 h 116781"/>
                  <a:gd name="connsiteX2" fmla="*/ 12170 w 172314"/>
                  <a:gd name="connsiteY2" fmla="*/ 0 h 116781"/>
                  <a:gd name="connsiteX3" fmla="*/ 702 w 172314"/>
                  <a:gd name="connsiteY3" fmla="*/ 6418 h 116781"/>
                  <a:gd name="connsiteX4" fmla="*/ 3017 w 172314"/>
                  <a:gd name="connsiteY4" fmla="*/ 16518 h 116781"/>
                  <a:gd name="connsiteX5" fmla="*/ 93496 w 172314"/>
                  <a:gd name="connsiteY5" fmla="*/ 112152 h 116781"/>
                  <a:gd name="connsiteX6" fmla="*/ 104753 w 172314"/>
                  <a:gd name="connsiteY6" fmla="*/ 116782 h 116781"/>
                  <a:gd name="connsiteX7" fmla="*/ 160198 w 172314"/>
                  <a:gd name="connsiteY7" fmla="*/ 116782 h 116781"/>
                  <a:gd name="connsiteX8" fmla="*/ 171455 w 172314"/>
                  <a:gd name="connsiteY8" fmla="*/ 110785 h 116781"/>
                  <a:gd name="connsiteX9" fmla="*/ 170193 w 172314"/>
                  <a:gd name="connsiteY9" fmla="*/ 101316 h 116781"/>
                  <a:gd name="connsiteX10" fmla="*/ 98020 w 172314"/>
                  <a:gd name="connsiteY10" fmla="*/ 5681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98020" y="5681"/>
                    </a:moveTo>
                    <a:cubicBezTo>
                      <a:pt x="95390" y="2209"/>
                      <a:pt x="90761" y="0"/>
                      <a:pt x="85921" y="0"/>
                    </a:cubicBezTo>
                    <a:lnTo>
                      <a:pt x="12170" y="0"/>
                    </a:lnTo>
                    <a:cubicBezTo>
                      <a:pt x="5752" y="0"/>
                      <a:pt x="2070" y="3367"/>
                      <a:pt x="702" y="6418"/>
                    </a:cubicBezTo>
                    <a:cubicBezTo>
                      <a:pt x="-140" y="8417"/>
                      <a:pt x="-981" y="12309"/>
                      <a:pt x="3017" y="16518"/>
                    </a:cubicBezTo>
                    <a:lnTo>
                      <a:pt x="93496" y="112152"/>
                    </a:lnTo>
                    <a:cubicBezTo>
                      <a:pt x="96231" y="115098"/>
                      <a:pt x="100440" y="116782"/>
                      <a:pt x="104753" y="116782"/>
                    </a:cubicBezTo>
                    <a:lnTo>
                      <a:pt x="160198" y="116782"/>
                    </a:lnTo>
                    <a:cubicBezTo>
                      <a:pt x="166300" y="116782"/>
                      <a:pt x="169983" y="113625"/>
                      <a:pt x="171455" y="110785"/>
                    </a:cubicBezTo>
                    <a:cubicBezTo>
                      <a:pt x="172928" y="107734"/>
                      <a:pt x="172508" y="104367"/>
                      <a:pt x="170193" y="101316"/>
                    </a:cubicBezTo>
                    <a:lnTo>
                      <a:pt x="98020" y="5681"/>
                    </a:lnTo>
                    <a:close/>
                  </a:path>
                </a:pathLst>
              </a:custGeom>
              <a:solidFill>
                <a:srgbClr val="009FE3"/>
              </a:solidFill>
              <a:ln w="10508" cap="flat">
                <a:noFill/>
                <a:prstDash val="solid"/>
                <a:miter/>
              </a:ln>
            </p:spPr>
            <p:txBody>
              <a:bodyPr rtlCol="0" anchor="ctr"/>
              <a:lstStyle/>
              <a:p>
                <a:endParaRPr lang="nl-NL"/>
              </a:p>
            </p:txBody>
          </p:sp>
          <p:sp>
            <p:nvSpPr>
              <p:cNvPr id="55" name="Freeform: Shape 54">
                <a:extLst>
                  <a:ext uri="{FF2B5EF4-FFF2-40B4-BE49-F238E27FC236}">
                    <a16:creationId xmlns:a16="http://schemas.microsoft.com/office/drawing/2014/main" id="{7E22C0BC-8F0E-4F3F-BB12-E84EB967A7A7}"/>
                  </a:ext>
                </a:extLst>
              </p:cNvPr>
              <p:cNvSpPr/>
              <p:nvPr/>
            </p:nvSpPr>
            <p:spPr>
              <a:xfrm>
                <a:off x="3367993" y="1318246"/>
                <a:ext cx="905530" cy="1223274"/>
              </a:xfrm>
              <a:custGeom>
                <a:avLst/>
                <a:gdLst>
                  <a:gd name="connsiteX0" fmla="*/ 782752 w 905530"/>
                  <a:gd name="connsiteY0" fmla="*/ 517744 h 1223274"/>
                  <a:gd name="connsiteX1" fmla="*/ 555501 w 905530"/>
                  <a:gd name="connsiteY1" fmla="*/ 815905 h 1223274"/>
                  <a:gd name="connsiteX2" fmla="*/ 7891 w 905530"/>
                  <a:gd name="connsiteY2" fmla="*/ 1148785 h 1223274"/>
                  <a:gd name="connsiteX3" fmla="*/ 631 w 905530"/>
                  <a:gd name="connsiteY3" fmla="*/ 1161620 h 1223274"/>
                  <a:gd name="connsiteX4" fmla="*/ 0 w 905530"/>
                  <a:gd name="connsiteY4" fmla="*/ 1214961 h 1223274"/>
                  <a:gd name="connsiteX5" fmla="*/ 8943 w 905530"/>
                  <a:gd name="connsiteY5" fmla="*/ 1221589 h 1223274"/>
                  <a:gd name="connsiteX6" fmla="*/ 787170 w 905530"/>
                  <a:gd name="connsiteY6" fmla="*/ 751202 h 1223274"/>
                  <a:gd name="connsiteX7" fmla="*/ 905530 w 905530"/>
                  <a:gd name="connsiteY7" fmla="*/ 509538 h 1223274"/>
                  <a:gd name="connsiteX8" fmla="*/ 310996 w 905530"/>
                  <a:gd name="connsiteY8" fmla="*/ 1380 h 1223274"/>
                  <a:gd name="connsiteX9" fmla="*/ 275436 w 905530"/>
                  <a:gd name="connsiteY9" fmla="*/ 4537 h 1223274"/>
                  <a:gd name="connsiteX10" fmla="*/ 154025 w 905530"/>
                  <a:gd name="connsiteY10" fmla="*/ 78288 h 1223274"/>
                  <a:gd name="connsiteX11" fmla="*/ 159286 w 905530"/>
                  <a:gd name="connsiteY11" fmla="*/ 96804 h 1223274"/>
                  <a:gd name="connsiteX12" fmla="*/ 782541 w 905530"/>
                  <a:gd name="connsiteY12" fmla="*/ 517849 h 122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5530" h="1223274">
                    <a:moveTo>
                      <a:pt x="782752" y="517744"/>
                    </a:moveTo>
                    <a:cubicBezTo>
                      <a:pt x="782541" y="636104"/>
                      <a:pt x="697638" y="722374"/>
                      <a:pt x="555501" y="815905"/>
                    </a:cubicBezTo>
                    <a:cubicBezTo>
                      <a:pt x="427567" y="899966"/>
                      <a:pt x="60495" y="1115749"/>
                      <a:pt x="7891" y="1148785"/>
                    </a:cubicBezTo>
                    <a:cubicBezTo>
                      <a:pt x="-526" y="1154045"/>
                      <a:pt x="631" y="1161620"/>
                      <a:pt x="631" y="1161620"/>
                    </a:cubicBezTo>
                    <a:cubicBezTo>
                      <a:pt x="631" y="1161620"/>
                      <a:pt x="0" y="1211489"/>
                      <a:pt x="0" y="1214961"/>
                    </a:cubicBezTo>
                    <a:cubicBezTo>
                      <a:pt x="0" y="1218433"/>
                      <a:pt x="736" y="1226850"/>
                      <a:pt x="8943" y="1221589"/>
                    </a:cubicBezTo>
                    <a:cubicBezTo>
                      <a:pt x="66176" y="1184766"/>
                      <a:pt x="652609" y="866931"/>
                      <a:pt x="787170" y="751202"/>
                    </a:cubicBezTo>
                    <a:cubicBezTo>
                      <a:pt x="882594" y="665667"/>
                      <a:pt x="905425" y="600648"/>
                      <a:pt x="905530" y="509538"/>
                    </a:cubicBezTo>
                    <a:cubicBezTo>
                      <a:pt x="905846" y="275869"/>
                      <a:pt x="657448" y="57983"/>
                      <a:pt x="310996" y="1380"/>
                    </a:cubicBezTo>
                    <a:cubicBezTo>
                      <a:pt x="293216" y="-1566"/>
                      <a:pt x="284273" y="539"/>
                      <a:pt x="275436" y="4537"/>
                    </a:cubicBezTo>
                    <a:cubicBezTo>
                      <a:pt x="259023" y="12112"/>
                      <a:pt x="157076" y="76289"/>
                      <a:pt x="154025" y="78288"/>
                    </a:cubicBezTo>
                    <a:cubicBezTo>
                      <a:pt x="141611" y="86178"/>
                      <a:pt x="142873" y="95542"/>
                      <a:pt x="159286" y="96804"/>
                    </a:cubicBezTo>
                    <a:cubicBezTo>
                      <a:pt x="501424" y="123527"/>
                      <a:pt x="782857" y="301540"/>
                      <a:pt x="782541" y="517849"/>
                    </a:cubicBezTo>
                  </a:path>
                </a:pathLst>
              </a:custGeom>
              <a:solidFill>
                <a:srgbClr val="009FE3"/>
              </a:solidFill>
              <a:ln w="10508" cap="flat">
                <a:noFill/>
                <a:prstDash val="solid"/>
                <a:miter/>
              </a:ln>
            </p:spPr>
            <p:txBody>
              <a:bodyPr rtlCol="0" anchor="ctr"/>
              <a:lstStyle/>
              <a:p>
                <a:endParaRPr lang="nl-NL"/>
              </a:p>
            </p:txBody>
          </p:sp>
          <p:sp>
            <p:nvSpPr>
              <p:cNvPr id="56" name="Freeform: Shape 55">
                <a:extLst>
                  <a:ext uri="{FF2B5EF4-FFF2-40B4-BE49-F238E27FC236}">
                    <a16:creationId xmlns:a16="http://schemas.microsoft.com/office/drawing/2014/main" id="{D5A63F0F-BA3D-4B8D-B25C-E1F95448FECA}"/>
                  </a:ext>
                </a:extLst>
              </p:cNvPr>
              <p:cNvSpPr/>
              <p:nvPr/>
            </p:nvSpPr>
            <p:spPr>
              <a:xfrm>
                <a:off x="3067097" y="1528570"/>
                <a:ext cx="872073" cy="474700"/>
              </a:xfrm>
              <a:custGeom>
                <a:avLst/>
                <a:gdLst>
                  <a:gd name="connsiteX0" fmla="*/ 300791 w 872073"/>
                  <a:gd name="connsiteY0" fmla="*/ 469651 h 474700"/>
                  <a:gd name="connsiteX1" fmla="*/ 351607 w 872073"/>
                  <a:gd name="connsiteY1" fmla="*/ 469651 h 474700"/>
                  <a:gd name="connsiteX2" fmla="*/ 351607 w 872073"/>
                  <a:gd name="connsiteY2" fmla="*/ 279223 h 474700"/>
                  <a:gd name="connsiteX3" fmla="*/ 177697 w 872073"/>
                  <a:gd name="connsiteY3" fmla="*/ 110364 h 474700"/>
                  <a:gd name="connsiteX4" fmla="*/ 102789 w 872073"/>
                  <a:gd name="connsiteY4" fmla="*/ 133930 h 474700"/>
                  <a:gd name="connsiteX5" fmla="*/ 42504 w 872073"/>
                  <a:gd name="connsiteY5" fmla="*/ 112678 h 474700"/>
                  <a:gd name="connsiteX6" fmla="*/ 0 w 872073"/>
                  <a:gd name="connsiteY6" fmla="*/ 112678 h 474700"/>
                  <a:gd name="connsiteX7" fmla="*/ 0 w 872073"/>
                  <a:gd name="connsiteY7" fmla="*/ 398530 h 474700"/>
                  <a:gd name="connsiteX8" fmla="*/ 79959 w 872073"/>
                  <a:gd name="connsiteY8" fmla="*/ 469651 h 474700"/>
                  <a:gd name="connsiteX9" fmla="*/ 120569 w 872073"/>
                  <a:gd name="connsiteY9" fmla="*/ 469651 h 474700"/>
                  <a:gd name="connsiteX10" fmla="*/ 120569 w 872073"/>
                  <a:gd name="connsiteY10" fmla="*/ 274173 h 474700"/>
                  <a:gd name="connsiteX11" fmla="*/ 174541 w 872073"/>
                  <a:gd name="connsiteY11" fmla="*/ 208208 h 474700"/>
                  <a:gd name="connsiteX12" fmla="*/ 231038 w 872073"/>
                  <a:gd name="connsiteY12" fmla="*/ 276172 h 474700"/>
                  <a:gd name="connsiteX13" fmla="*/ 231038 w 872073"/>
                  <a:gd name="connsiteY13" fmla="*/ 398635 h 474700"/>
                  <a:gd name="connsiteX14" fmla="*/ 300896 w 872073"/>
                  <a:gd name="connsiteY14" fmla="*/ 469756 h 474700"/>
                  <a:gd name="connsiteX15" fmla="*/ 618731 w 872073"/>
                  <a:gd name="connsiteY15" fmla="*/ 418835 h 474700"/>
                  <a:gd name="connsiteX16" fmla="*/ 618731 w 872073"/>
                  <a:gd name="connsiteY16" fmla="*/ 376962 h 474700"/>
                  <a:gd name="connsiteX17" fmla="*/ 592114 w 872073"/>
                  <a:gd name="connsiteY17" fmla="*/ 376962 h 474700"/>
                  <a:gd name="connsiteX18" fmla="*/ 541298 w 872073"/>
                  <a:gd name="connsiteY18" fmla="*/ 336352 h 474700"/>
                  <a:gd name="connsiteX19" fmla="*/ 541298 w 872073"/>
                  <a:gd name="connsiteY19" fmla="*/ 83115 h 474700"/>
                  <a:gd name="connsiteX20" fmla="*/ 463233 w 872073"/>
                  <a:gd name="connsiteY20" fmla="*/ 0 h 474700"/>
                  <a:gd name="connsiteX21" fmla="*/ 420729 w 872073"/>
                  <a:gd name="connsiteY21" fmla="*/ 0 h 474700"/>
                  <a:gd name="connsiteX22" fmla="*/ 420729 w 872073"/>
                  <a:gd name="connsiteY22" fmla="*/ 354132 h 474700"/>
                  <a:gd name="connsiteX23" fmla="*/ 540035 w 872073"/>
                  <a:gd name="connsiteY23" fmla="*/ 474701 h 474700"/>
                  <a:gd name="connsiteX24" fmla="*/ 618731 w 872073"/>
                  <a:gd name="connsiteY24" fmla="*/ 418835 h 474700"/>
                  <a:gd name="connsiteX25" fmla="*/ 871968 w 872073"/>
                  <a:gd name="connsiteY25" fmla="*/ 210627 h 474700"/>
                  <a:gd name="connsiteX26" fmla="*/ 871968 w 872073"/>
                  <a:gd name="connsiteY26" fmla="*/ 166229 h 474700"/>
                  <a:gd name="connsiteX27" fmla="*/ 783804 w 872073"/>
                  <a:gd name="connsiteY27" fmla="*/ 109101 h 474700"/>
                  <a:gd name="connsiteX28" fmla="*/ 656922 w 872073"/>
                  <a:gd name="connsiteY28" fmla="*/ 235352 h 474700"/>
                  <a:gd name="connsiteX29" fmla="*/ 656922 w 872073"/>
                  <a:gd name="connsiteY29" fmla="*/ 387062 h 474700"/>
                  <a:gd name="connsiteX30" fmla="*/ 740668 w 872073"/>
                  <a:gd name="connsiteY30" fmla="*/ 469546 h 474700"/>
                  <a:gd name="connsiteX31" fmla="*/ 773704 w 872073"/>
                  <a:gd name="connsiteY31" fmla="*/ 469546 h 474700"/>
                  <a:gd name="connsiteX32" fmla="*/ 773704 w 872073"/>
                  <a:gd name="connsiteY32" fmla="*/ 260707 h 474700"/>
                  <a:gd name="connsiteX33" fmla="*/ 825782 w 872073"/>
                  <a:gd name="connsiteY33" fmla="*/ 203579 h 474700"/>
                  <a:gd name="connsiteX34" fmla="*/ 868286 w 872073"/>
                  <a:gd name="connsiteY34" fmla="*/ 210522 h 474700"/>
                  <a:gd name="connsiteX35" fmla="*/ 872074 w 872073"/>
                  <a:gd name="connsiteY35" fmla="*/ 210522 h 4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2073" h="474700">
                    <a:moveTo>
                      <a:pt x="300791" y="469651"/>
                    </a:moveTo>
                    <a:lnTo>
                      <a:pt x="351607" y="469651"/>
                    </a:lnTo>
                    <a:lnTo>
                      <a:pt x="351607" y="279223"/>
                    </a:lnTo>
                    <a:cubicBezTo>
                      <a:pt x="351607" y="175803"/>
                      <a:pt x="301107" y="101421"/>
                      <a:pt x="177697" y="110364"/>
                    </a:cubicBezTo>
                    <a:cubicBezTo>
                      <a:pt x="145609" y="112678"/>
                      <a:pt x="106787" y="133194"/>
                      <a:pt x="102789" y="133930"/>
                    </a:cubicBezTo>
                    <a:cubicBezTo>
                      <a:pt x="89848" y="119306"/>
                      <a:pt x="69964" y="112678"/>
                      <a:pt x="42504" y="112678"/>
                    </a:cubicBezTo>
                    <a:lnTo>
                      <a:pt x="0" y="112678"/>
                    </a:lnTo>
                    <a:lnTo>
                      <a:pt x="0" y="398530"/>
                    </a:lnTo>
                    <a:cubicBezTo>
                      <a:pt x="0" y="449346"/>
                      <a:pt x="28617" y="469651"/>
                      <a:pt x="79959" y="469651"/>
                    </a:cubicBezTo>
                    <a:lnTo>
                      <a:pt x="120569" y="469651"/>
                    </a:lnTo>
                    <a:lnTo>
                      <a:pt x="120569" y="274173"/>
                    </a:lnTo>
                    <a:cubicBezTo>
                      <a:pt x="120569" y="231669"/>
                      <a:pt x="139612" y="208208"/>
                      <a:pt x="174541" y="208208"/>
                    </a:cubicBezTo>
                    <a:cubicBezTo>
                      <a:pt x="215151" y="208208"/>
                      <a:pt x="231038" y="229144"/>
                      <a:pt x="231038" y="276172"/>
                    </a:cubicBezTo>
                    <a:lnTo>
                      <a:pt x="231038" y="398635"/>
                    </a:lnTo>
                    <a:cubicBezTo>
                      <a:pt x="231038" y="451976"/>
                      <a:pt x="247556" y="469756"/>
                      <a:pt x="300896" y="469756"/>
                    </a:cubicBezTo>
                    <a:moveTo>
                      <a:pt x="618731" y="418835"/>
                    </a:moveTo>
                    <a:lnTo>
                      <a:pt x="618731" y="376962"/>
                    </a:lnTo>
                    <a:lnTo>
                      <a:pt x="592114" y="376962"/>
                    </a:lnTo>
                    <a:cubicBezTo>
                      <a:pt x="558447" y="376962"/>
                      <a:pt x="541298" y="367388"/>
                      <a:pt x="541298" y="336352"/>
                    </a:cubicBezTo>
                    <a:lnTo>
                      <a:pt x="541298" y="83115"/>
                    </a:lnTo>
                    <a:cubicBezTo>
                      <a:pt x="541298" y="24093"/>
                      <a:pt x="515943" y="0"/>
                      <a:pt x="463233" y="0"/>
                    </a:cubicBezTo>
                    <a:lnTo>
                      <a:pt x="420729" y="0"/>
                    </a:lnTo>
                    <a:lnTo>
                      <a:pt x="420729" y="354132"/>
                    </a:lnTo>
                    <a:cubicBezTo>
                      <a:pt x="420729" y="436615"/>
                      <a:pt x="475963" y="474701"/>
                      <a:pt x="540035" y="474701"/>
                    </a:cubicBezTo>
                    <a:cubicBezTo>
                      <a:pt x="578121" y="474701"/>
                      <a:pt x="618731" y="461339"/>
                      <a:pt x="618731" y="418835"/>
                    </a:cubicBezTo>
                    <a:moveTo>
                      <a:pt x="871968" y="210627"/>
                    </a:moveTo>
                    <a:lnTo>
                      <a:pt x="871968" y="166229"/>
                    </a:lnTo>
                    <a:cubicBezTo>
                      <a:pt x="871968" y="133825"/>
                      <a:pt x="844088" y="109101"/>
                      <a:pt x="783804" y="109101"/>
                    </a:cubicBezTo>
                    <a:cubicBezTo>
                      <a:pt x="704476" y="109101"/>
                      <a:pt x="656922" y="164967"/>
                      <a:pt x="656922" y="235352"/>
                    </a:cubicBezTo>
                    <a:lnTo>
                      <a:pt x="656922" y="387062"/>
                    </a:lnTo>
                    <a:cubicBezTo>
                      <a:pt x="656922" y="445453"/>
                      <a:pt x="688695" y="469546"/>
                      <a:pt x="740668" y="469546"/>
                    </a:cubicBezTo>
                    <a:lnTo>
                      <a:pt x="773704" y="469546"/>
                    </a:lnTo>
                    <a:lnTo>
                      <a:pt x="773704" y="260707"/>
                    </a:lnTo>
                    <a:cubicBezTo>
                      <a:pt x="773704" y="218203"/>
                      <a:pt x="796534" y="203579"/>
                      <a:pt x="825782" y="203579"/>
                    </a:cubicBezTo>
                    <a:cubicBezTo>
                      <a:pt x="841668" y="203579"/>
                      <a:pt x="853031" y="204841"/>
                      <a:pt x="868286" y="210522"/>
                    </a:cubicBezTo>
                    <a:lnTo>
                      <a:pt x="872074" y="210522"/>
                    </a:lnTo>
                    <a:close/>
                  </a:path>
                </a:pathLst>
              </a:custGeom>
              <a:solidFill>
                <a:srgbClr val="004C7D"/>
              </a:solidFill>
              <a:ln w="10508" cap="flat">
                <a:noFill/>
                <a:prstDash val="solid"/>
                <a:miter/>
              </a:ln>
            </p:spPr>
            <p:txBody>
              <a:bodyPr rtlCol="0" anchor="ctr"/>
              <a:lstStyle/>
              <a:p>
                <a:endParaRPr lang="nl-NL"/>
              </a:p>
            </p:txBody>
          </p:sp>
          <p:sp>
            <p:nvSpPr>
              <p:cNvPr id="57" name="Freeform: Shape 56">
                <a:extLst>
                  <a:ext uri="{FF2B5EF4-FFF2-40B4-BE49-F238E27FC236}">
                    <a16:creationId xmlns:a16="http://schemas.microsoft.com/office/drawing/2014/main" id="{462F3D05-3C80-4C34-B556-CD3CB43F19AB}"/>
                  </a:ext>
                </a:extLst>
              </p:cNvPr>
              <p:cNvSpPr/>
              <p:nvPr/>
            </p:nvSpPr>
            <p:spPr>
              <a:xfrm>
                <a:off x="3058112" y="1456923"/>
                <a:ext cx="369550" cy="61020"/>
              </a:xfrm>
              <a:custGeom>
                <a:avLst/>
                <a:gdLst>
                  <a:gd name="connsiteX0" fmla="*/ 367325 w 369550"/>
                  <a:gd name="connsiteY0" fmla="*/ 4734 h 61020"/>
                  <a:gd name="connsiteX1" fmla="*/ 358067 w 369550"/>
                  <a:gd name="connsiteY1" fmla="*/ 0 h 61020"/>
                  <a:gd name="connsiteX2" fmla="*/ 11404 w 369550"/>
                  <a:gd name="connsiteY2" fmla="*/ 0 h 61020"/>
                  <a:gd name="connsiteX3" fmla="*/ 2146 w 369550"/>
                  <a:gd name="connsiteY3" fmla="*/ 4734 h 61020"/>
                  <a:gd name="connsiteX4" fmla="*/ 673 w 369550"/>
                  <a:gd name="connsiteY4" fmla="*/ 15045 h 61020"/>
                  <a:gd name="connsiteX5" fmla="*/ 13824 w 369550"/>
                  <a:gd name="connsiteY5" fmla="*/ 53341 h 61020"/>
                  <a:gd name="connsiteX6" fmla="*/ 24661 w 369550"/>
                  <a:gd name="connsiteY6" fmla="*/ 61021 h 61020"/>
                  <a:gd name="connsiteX7" fmla="*/ 344915 w 369550"/>
                  <a:gd name="connsiteY7" fmla="*/ 61021 h 61020"/>
                  <a:gd name="connsiteX8" fmla="*/ 355752 w 369550"/>
                  <a:gd name="connsiteY8" fmla="*/ 53341 h 61020"/>
                  <a:gd name="connsiteX9" fmla="*/ 368903 w 369550"/>
                  <a:gd name="connsiteY9" fmla="*/ 15045 h 61020"/>
                  <a:gd name="connsiteX10" fmla="*/ 367430 w 369550"/>
                  <a:gd name="connsiteY10" fmla="*/ 4734 h 6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9550" h="61020">
                    <a:moveTo>
                      <a:pt x="367325" y="4734"/>
                    </a:moveTo>
                    <a:cubicBezTo>
                      <a:pt x="365115" y="1683"/>
                      <a:pt x="361749" y="0"/>
                      <a:pt x="358067" y="0"/>
                    </a:cubicBezTo>
                    <a:lnTo>
                      <a:pt x="11404" y="0"/>
                    </a:lnTo>
                    <a:cubicBezTo>
                      <a:pt x="7617" y="0"/>
                      <a:pt x="4250" y="1789"/>
                      <a:pt x="2146" y="4734"/>
                    </a:cubicBezTo>
                    <a:cubicBezTo>
                      <a:pt x="-63" y="7785"/>
                      <a:pt x="-589" y="11573"/>
                      <a:pt x="673" y="15045"/>
                    </a:cubicBezTo>
                    <a:lnTo>
                      <a:pt x="13824" y="53341"/>
                    </a:lnTo>
                    <a:cubicBezTo>
                      <a:pt x="15402" y="57970"/>
                      <a:pt x="19716" y="61021"/>
                      <a:pt x="24661" y="61021"/>
                    </a:cubicBezTo>
                    <a:lnTo>
                      <a:pt x="344915" y="61021"/>
                    </a:lnTo>
                    <a:cubicBezTo>
                      <a:pt x="349755" y="61021"/>
                      <a:pt x="354174" y="57970"/>
                      <a:pt x="355752" y="53341"/>
                    </a:cubicBezTo>
                    <a:lnTo>
                      <a:pt x="368903" y="15045"/>
                    </a:lnTo>
                    <a:cubicBezTo>
                      <a:pt x="370165" y="11468"/>
                      <a:pt x="369534" y="7785"/>
                      <a:pt x="367430" y="4734"/>
                    </a:cubicBezTo>
                    <a:close/>
                  </a:path>
                </a:pathLst>
              </a:custGeom>
              <a:solidFill>
                <a:srgbClr val="009FE3"/>
              </a:solidFill>
              <a:ln w="10508"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B38212B5-7A4C-4AE7-A124-FBE4274819B6}"/>
                  </a:ext>
                </a:extLst>
              </p:cNvPr>
              <p:cNvSpPr/>
              <p:nvPr/>
            </p:nvSpPr>
            <p:spPr>
              <a:xfrm>
                <a:off x="3144504" y="1065863"/>
                <a:ext cx="197634" cy="343295"/>
              </a:xfrm>
              <a:custGeom>
                <a:avLst/>
                <a:gdLst>
                  <a:gd name="connsiteX0" fmla="*/ 192242 w 197634"/>
                  <a:gd name="connsiteY0" fmla="*/ 192742 h 343295"/>
                  <a:gd name="connsiteX1" fmla="*/ 123331 w 197634"/>
                  <a:gd name="connsiteY1" fmla="*/ 91005 h 343295"/>
                  <a:gd name="connsiteX2" fmla="*/ 117860 w 197634"/>
                  <a:gd name="connsiteY2" fmla="*/ 84798 h 343295"/>
                  <a:gd name="connsiteX3" fmla="*/ 143005 w 197634"/>
                  <a:gd name="connsiteY3" fmla="*/ 44714 h 343295"/>
                  <a:gd name="connsiteX4" fmla="*/ 98291 w 197634"/>
                  <a:gd name="connsiteY4" fmla="*/ 0 h 343295"/>
                  <a:gd name="connsiteX5" fmla="*/ 53577 w 197634"/>
                  <a:gd name="connsiteY5" fmla="*/ 44714 h 343295"/>
                  <a:gd name="connsiteX6" fmla="*/ 79248 w 197634"/>
                  <a:gd name="connsiteY6" fmla="*/ 85009 h 343295"/>
                  <a:gd name="connsiteX7" fmla="*/ 74198 w 197634"/>
                  <a:gd name="connsiteY7" fmla="*/ 90900 h 343295"/>
                  <a:gd name="connsiteX8" fmla="*/ 5287 w 197634"/>
                  <a:gd name="connsiteY8" fmla="*/ 192637 h 343295"/>
                  <a:gd name="connsiteX9" fmla="*/ 5287 w 197634"/>
                  <a:gd name="connsiteY9" fmla="*/ 227776 h 343295"/>
                  <a:gd name="connsiteX10" fmla="*/ 74198 w 197634"/>
                  <a:gd name="connsiteY10" fmla="*/ 329513 h 343295"/>
                  <a:gd name="connsiteX11" fmla="*/ 98817 w 197634"/>
                  <a:gd name="connsiteY11" fmla="*/ 343295 h 343295"/>
                  <a:gd name="connsiteX12" fmla="*/ 123436 w 197634"/>
                  <a:gd name="connsiteY12" fmla="*/ 329513 h 343295"/>
                  <a:gd name="connsiteX13" fmla="*/ 192347 w 197634"/>
                  <a:gd name="connsiteY13" fmla="*/ 227776 h 343295"/>
                  <a:gd name="connsiteX14" fmla="*/ 192347 w 197634"/>
                  <a:gd name="connsiteY14" fmla="*/ 192637 h 3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634" h="343295">
                    <a:moveTo>
                      <a:pt x="192242" y="192742"/>
                    </a:moveTo>
                    <a:lnTo>
                      <a:pt x="123331" y="91005"/>
                    </a:lnTo>
                    <a:cubicBezTo>
                      <a:pt x="121753" y="88586"/>
                      <a:pt x="119859" y="86587"/>
                      <a:pt x="117860" y="84798"/>
                    </a:cubicBezTo>
                    <a:cubicBezTo>
                      <a:pt x="132694" y="77539"/>
                      <a:pt x="143005" y="62389"/>
                      <a:pt x="143005" y="44714"/>
                    </a:cubicBezTo>
                    <a:cubicBezTo>
                      <a:pt x="143005" y="19990"/>
                      <a:pt x="123015" y="0"/>
                      <a:pt x="98291" y="0"/>
                    </a:cubicBezTo>
                    <a:cubicBezTo>
                      <a:pt x="73567" y="0"/>
                      <a:pt x="53577" y="19990"/>
                      <a:pt x="53577" y="44714"/>
                    </a:cubicBezTo>
                    <a:cubicBezTo>
                      <a:pt x="53577" y="62599"/>
                      <a:pt x="64098" y="77854"/>
                      <a:pt x="79248" y="85009"/>
                    </a:cubicBezTo>
                    <a:cubicBezTo>
                      <a:pt x="77355" y="86692"/>
                      <a:pt x="75671" y="88691"/>
                      <a:pt x="74198" y="90900"/>
                    </a:cubicBezTo>
                    <a:lnTo>
                      <a:pt x="5287" y="192637"/>
                    </a:lnTo>
                    <a:cubicBezTo>
                      <a:pt x="-1762" y="202947"/>
                      <a:pt x="-1762" y="217466"/>
                      <a:pt x="5287" y="227776"/>
                    </a:cubicBezTo>
                    <a:lnTo>
                      <a:pt x="74198" y="329513"/>
                    </a:lnTo>
                    <a:cubicBezTo>
                      <a:pt x="80090" y="338245"/>
                      <a:pt x="89138" y="343295"/>
                      <a:pt x="98817" y="343295"/>
                    </a:cubicBezTo>
                    <a:cubicBezTo>
                      <a:pt x="108496" y="343295"/>
                      <a:pt x="117439" y="338245"/>
                      <a:pt x="123436" y="329513"/>
                    </a:cubicBezTo>
                    <a:lnTo>
                      <a:pt x="192347" y="227776"/>
                    </a:lnTo>
                    <a:cubicBezTo>
                      <a:pt x="199396" y="217466"/>
                      <a:pt x="199396" y="202947"/>
                      <a:pt x="192347" y="192637"/>
                    </a:cubicBezTo>
                    <a:close/>
                  </a:path>
                </a:pathLst>
              </a:custGeom>
              <a:solidFill>
                <a:srgbClr val="009FE3"/>
              </a:solidFill>
              <a:ln w="10508" cap="flat">
                <a:noFill/>
                <a:prstDash val="solid"/>
                <a:miter/>
              </a:ln>
            </p:spPr>
            <p:txBody>
              <a:bodyPr rtlCol="0" anchor="ctr"/>
              <a:lstStyle/>
              <a:p>
                <a:endParaRPr lang="nl-NL"/>
              </a:p>
            </p:txBody>
          </p:sp>
        </p:grpSp>
        <p:grpSp>
          <p:nvGrpSpPr>
            <p:cNvPr id="12" name="Graphic 3">
              <a:extLst>
                <a:ext uri="{FF2B5EF4-FFF2-40B4-BE49-F238E27FC236}">
                  <a16:creationId xmlns:a16="http://schemas.microsoft.com/office/drawing/2014/main" id="{9D9945C9-4411-4597-8B3E-5A3044CB15CF}"/>
                </a:ext>
              </a:extLst>
            </p:cNvPr>
            <p:cNvGrpSpPr/>
            <p:nvPr/>
          </p:nvGrpSpPr>
          <p:grpSpPr>
            <a:xfrm>
              <a:off x="4679312" y="1368864"/>
              <a:ext cx="1730890" cy="897744"/>
              <a:chOff x="4679312" y="1368864"/>
              <a:chExt cx="1730890" cy="897744"/>
            </a:xfrm>
            <a:solidFill>
              <a:srgbClr val="004C7D"/>
            </a:solidFill>
          </p:grpSpPr>
          <p:sp>
            <p:nvSpPr>
              <p:cNvPr id="15" name="Freeform: Shape 14">
                <a:extLst>
                  <a:ext uri="{FF2B5EF4-FFF2-40B4-BE49-F238E27FC236}">
                    <a16:creationId xmlns:a16="http://schemas.microsoft.com/office/drawing/2014/main" id="{8C5804E7-1517-4848-B5DA-3E13B78DE884}"/>
                  </a:ext>
                </a:extLst>
              </p:cNvPr>
              <p:cNvSpPr/>
              <p:nvPr/>
            </p:nvSpPr>
            <p:spPr>
              <a:xfrm>
                <a:off x="4679312" y="1383488"/>
                <a:ext cx="174435" cy="201789"/>
              </a:xfrm>
              <a:custGeom>
                <a:avLst/>
                <a:gdLst>
                  <a:gd name="connsiteX0" fmla="*/ 157813 w 174435"/>
                  <a:gd name="connsiteY0" fmla="*/ 201790 h 201789"/>
                  <a:gd name="connsiteX1" fmla="*/ 130669 w 174435"/>
                  <a:gd name="connsiteY1" fmla="*/ 182326 h 201789"/>
                  <a:gd name="connsiteX2" fmla="*/ 125093 w 174435"/>
                  <a:gd name="connsiteY2" fmla="*/ 150238 h 201789"/>
                  <a:gd name="connsiteX3" fmla="*/ 44714 w 174435"/>
                  <a:gd name="connsiteY3" fmla="*/ 150238 h 201789"/>
                  <a:gd name="connsiteX4" fmla="*/ 34088 w 174435"/>
                  <a:gd name="connsiteY4" fmla="*/ 201790 h 201789"/>
                  <a:gd name="connsiteX5" fmla="*/ 18517 w 174435"/>
                  <a:gd name="connsiteY5" fmla="*/ 201790 h 201789"/>
                  <a:gd name="connsiteX6" fmla="*/ 0 w 174435"/>
                  <a:gd name="connsiteY6" fmla="*/ 182326 h 201789"/>
                  <a:gd name="connsiteX7" fmla="*/ 68596 w 174435"/>
                  <a:gd name="connsiteY7" fmla="*/ 0 h 201789"/>
                  <a:gd name="connsiteX8" fmla="*/ 85114 w 174435"/>
                  <a:gd name="connsiteY8" fmla="*/ 0 h 201789"/>
                  <a:gd name="connsiteX9" fmla="*/ 117834 w 174435"/>
                  <a:gd name="connsiteY9" fmla="*/ 18517 h 201789"/>
                  <a:gd name="connsiteX10" fmla="*/ 174436 w 174435"/>
                  <a:gd name="connsiteY10" fmla="*/ 201790 h 201789"/>
                  <a:gd name="connsiteX11" fmla="*/ 157918 w 174435"/>
                  <a:gd name="connsiteY11" fmla="*/ 201790 h 201789"/>
                  <a:gd name="connsiteX12" fmla="*/ 84798 w 174435"/>
                  <a:gd name="connsiteY12" fmla="*/ 37139 h 201789"/>
                  <a:gd name="connsiteX13" fmla="*/ 53551 w 174435"/>
                  <a:gd name="connsiteY13" fmla="*/ 118149 h 201789"/>
                  <a:gd name="connsiteX14" fmla="*/ 116045 w 174435"/>
                  <a:gd name="connsiteY14" fmla="*/ 118149 h 201789"/>
                  <a:gd name="connsiteX15" fmla="*/ 84798 w 174435"/>
                  <a:gd name="connsiteY15" fmla="*/ 37139 h 20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435" h="201789">
                    <a:moveTo>
                      <a:pt x="157813" y="201790"/>
                    </a:moveTo>
                    <a:cubicBezTo>
                      <a:pt x="140980" y="201790"/>
                      <a:pt x="132142" y="192111"/>
                      <a:pt x="130669" y="182326"/>
                    </a:cubicBezTo>
                    <a:cubicBezTo>
                      <a:pt x="128880" y="169070"/>
                      <a:pt x="127092" y="158760"/>
                      <a:pt x="125093" y="150238"/>
                    </a:cubicBezTo>
                    <a:lnTo>
                      <a:pt x="44714" y="150238"/>
                    </a:lnTo>
                    <a:cubicBezTo>
                      <a:pt x="40611" y="167282"/>
                      <a:pt x="37033" y="184746"/>
                      <a:pt x="34088" y="201790"/>
                    </a:cubicBezTo>
                    <a:lnTo>
                      <a:pt x="18517" y="201790"/>
                    </a:lnTo>
                    <a:cubicBezTo>
                      <a:pt x="5260" y="201790"/>
                      <a:pt x="0" y="194741"/>
                      <a:pt x="0" y="182326"/>
                    </a:cubicBezTo>
                    <a:cubicBezTo>
                      <a:pt x="0" y="153184"/>
                      <a:pt x="37665" y="34403"/>
                      <a:pt x="68596" y="0"/>
                    </a:cubicBezTo>
                    <a:lnTo>
                      <a:pt x="85114" y="0"/>
                    </a:lnTo>
                    <a:cubicBezTo>
                      <a:pt x="101316" y="0"/>
                      <a:pt x="112257" y="8838"/>
                      <a:pt x="117834" y="18517"/>
                    </a:cubicBezTo>
                    <a:cubicBezTo>
                      <a:pt x="136140" y="51237"/>
                      <a:pt x="166440" y="138139"/>
                      <a:pt x="174436" y="201790"/>
                    </a:cubicBezTo>
                    <a:lnTo>
                      <a:pt x="157918" y="201790"/>
                    </a:lnTo>
                    <a:close/>
                    <a:moveTo>
                      <a:pt x="84798" y="37139"/>
                    </a:moveTo>
                    <a:cubicBezTo>
                      <a:pt x="73015" y="58075"/>
                      <a:pt x="60390" y="90164"/>
                      <a:pt x="53551" y="118149"/>
                    </a:cubicBezTo>
                    <a:lnTo>
                      <a:pt x="116045" y="118149"/>
                    </a:lnTo>
                    <a:cubicBezTo>
                      <a:pt x="109312" y="89848"/>
                      <a:pt x="95424" y="55971"/>
                      <a:pt x="84798" y="37139"/>
                    </a:cubicBezTo>
                    <a:close/>
                  </a:path>
                </a:pathLst>
              </a:custGeom>
              <a:solidFill>
                <a:srgbClr val="004C7D"/>
              </a:solidFill>
              <a:ln w="10508" cap="flat">
                <a:noFill/>
                <a:prstDash val="solid"/>
                <a:miter/>
              </a:ln>
            </p:spPr>
            <p:txBody>
              <a:bodyPr rtlCol="0" anchor="ctr"/>
              <a:lstStyle/>
              <a:p>
                <a:endParaRPr lang="nl-NL"/>
              </a:p>
            </p:txBody>
          </p:sp>
          <p:sp>
            <p:nvSpPr>
              <p:cNvPr id="16" name="Freeform: Shape 15">
                <a:extLst>
                  <a:ext uri="{FF2B5EF4-FFF2-40B4-BE49-F238E27FC236}">
                    <a16:creationId xmlns:a16="http://schemas.microsoft.com/office/drawing/2014/main" id="{AE0E3446-9140-4632-8B11-6B67B352F241}"/>
                  </a:ext>
                </a:extLst>
              </p:cNvPr>
              <p:cNvSpPr/>
              <p:nvPr/>
            </p:nvSpPr>
            <p:spPr>
              <a:xfrm>
                <a:off x="4866373"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8" y="43556"/>
                      <a:pt x="107313" y="36192"/>
                      <a:pt x="84588" y="36192"/>
                    </a:cubicBezTo>
                    <a:cubicBezTo>
                      <a:pt x="61863" y="36192"/>
                      <a:pt x="41242" y="54708"/>
                      <a:pt x="41242" y="78275"/>
                    </a:cubicBezTo>
                    <a:cubicBezTo>
                      <a:pt x="41242" y="107102"/>
                      <a:pt x="58286"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17" name="Freeform: Shape 16">
                <a:extLst>
                  <a:ext uri="{FF2B5EF4-FFF2-40B4-BE49-F238E27FC236}">
                    <a16:creationId xmlns:a16="http://schemas.microsoft.com/office/drawing/2014/main" id="{FA896746-3EF3-4B44-B735-49B0628A3F05}"/>
                  </a:ext>
                </a:extLst>
              </p:cNvPr>
              <p:cNvSpPr/>
              <p:nvPr/>
            </p:nvSpPr>
            <p:spPr>
              <a:xfrm>
                <a:off x="5014928"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7" y="43556"/>
                      <a:pt x="107313" y="36192"/>
                      <a:pt x="84588" y="36192"/>
                    </a:cubicBezTo>
                    <a:cubicBezTo>
                      <a:pt x="61863" y="36192"/>
                      <a:pt x="41242" y="54708"/>
                      <a:pt x="41242" y="78275"/>
                    </a:cubicBezTo>
                    <a:cubicBezTo>
                      <a:pt x="41242" y="107102"/>
                      <a:pt x="58285"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18" name="Freeform: Shape 17">
                <a:extLst>
                  <a:ext uri="{FF2B5EF4-FFF2-40B4-BE49-F238E27FC236}">
                    <a16:creationId xmlns:a16="http://schemas.microsoft.com/office/drawing/2014/main" id="{B5F771A2-D2AA-4FA5-83CE-A51B649632D2}"/>
                  </a:ext>
                </a:extLst>
              </p:cNvPr>
              <p:cNvSpPr/>
              <p:nvPr/>
            </p:nvSpPr>
            <p:spPr>
              <a:xfrm>
                <a:off x="5164324"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19" name="Freeform: Shape 18">
                <a:extLst>
                  <a:ext uri="{FF2B5EF4-FFF2-40B4-BE49-F238E27FC236}">
                    <a16:creationId xmlns:a16="http://schemas.microsoft.com/office/drawing/2014/main" id="{11029E94-19D9-4EC5-A42B-0230BBF6F30E}"/>
                  </a:ext>
                </a:extLst>
              </p:cNvPr>
              <p:cNvSpPr/>
              <p:nvPr/>
            </p:nvSpPr>
            <p:spPr>
              <a:xfrm>
                <a:off x="5335393" y="1373177"/>
                <a:ext cx="76907" cy="213573"/>
              </a:xfrm>
              <a:custGeom>
                <a:avLst/>
                <a:gdLst>
                  <a:gd name="connsiteX0" fmla="*/ 50395 w 76907"/>
                  <a:gd name="connsiteY0" fmla="*/ 213573 h 213573"/>
                  <a:gd name="connsiteX1" fmla="*/ 0 w 76907"/>
                  <a:gd name="connsiteY1" fmla="*/ 164125 h 213573"/>
                  <a:gd name="connsiteX2" fmla="*/ 0 w 76907"/>
                  <a:gd name="connsiteY2" fmla="*/ 0 h 213573"/>
                  <a:gd name="connsiteX3" fmla="*/ 11152 w 76907"/>
                  <a:gd name="connsiteY3" fmla="*/ 0 h 213573"/>
                  <a:gd name="connsiteX4" fmla="*/ 39453 w 76907"/>
                  <a:gd name="connsiteY4" fmla="*/ 26513 h 213573"/>
                  <a:gd name="connsiteX5" fmla="*/ 39453 w 76907"/>
                  <a:gd name="connsiteY5" fmla="*/ 160233 h 213573"/>
                  <a:gd name="connsiteX6" fmla="*/ 66281 w 76907"/>
                  <a:gd name="connsiteY6" fmla="*/ 181169 h 213573"/>
                  <a:gd name="connsiteX7" fmla="*/ 76907 w 76907"/>
                  <a:gd name="connsiteY7" fmla="*/ 181169 h 213573"/>
                  <a:gd name="connsiteX8" fmla="*/ 76907 w 76907"/>
                  <a:gd name="connsiteY8" fmla="*/ 189691 h 213573"/>
                  <a:gd name="connsiteX9" fmla="*/ 50395 w 76907"/>
                  <a:gd name="connsiteY9" fmla="*/ 213573 h 21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07" h="213573">
                    <a:moveTo>
                      <a:pt x="50395" y="213573"/>
                    </a:moveTo>
                    <a:cubicBezTo>
                      <a:pt x="17675" y="213573"/>
                      <a:pt x="0" y="196214"/>
                      <a:pt x="0" y="164125"/>
                    </a:cubicBezTo>
                    <a:lnTo>
                      <a:pt x="0" y="0"/>
                    </a:lnTo>
                    <a:lnTo>
                      <a:pt x="11152" y="0"/>
                    </a:lnTo>
                    <a:cubicBezTo>
                      <a:pt x="30931" y="0"/>
                      <a:pt x="39453" y="11468"/>
                      <a:pt x="39453" y="26513"/>
                    </a:cubicBezTo>
                    <a:lnTo>
                      <a:pt x="39453" y="160233"/>
                    </a:lnTo>
                    <a:cubicBezTo>
                      <a:pt x="39453" y="176119"/>
                      <a:pt x="47659" y="181169"/>
                      <a:pt x="66281" y="181169"/>
                    </a:cubicBezTo>
                    <a:lnTo>
                      <a:pt x="76907" y="181169"/>
                    </a:lnTo>
                    <a:lnTo>
                      <a:pt x="76907" y="189691"/>
                    </a:lnTo>
                    <a:cubicBezTo>
                      <a:pt x="76907" y="206735"/>
                      <a:pt x="67754" y="213573"/>
                      <a:pt x="50395" y="213573"/>
                    </a:cubicBezTo>
                    <a:close/>
                  </a:path>
                </a:pathLst>
              </a:custGeom>
              <a:solidFill>
                <a:srgbClr val="004C7D"/>
              </a:solidFill>
              <a:ln w="10508" cap="flat">
                <a:noFill/>
                <a:prstDash val="solid"/>
                <a:miter/>
              </a:ln>
            </p:spPr>
            <p:txBody>
              <a:bodyPr rtlCol="0" anchor="ctr"/>
              <a:lstStyle/>
              <a:p>
                <a:endParaRPr lang="nl-NL"/>
              </a:p>
            </p:txBody>
          </p:sp>
          <p:sp>
            <p:nvSpPr>
              <p:cNvPr id="20" name="Freeform: Shape 19">
                <a:extLst>
                  <a:ext uri="{FF2B5EF4-FFF2-40B4-BE49-F238E27FC236}">
                    <a16:creationId xmlns:a16="http://schemas.microsoft.com/office/drawing/2014/main" id="{86AC606A-DA23-4D90-A7F2-8DA78164CDD4}"/>
                  </a:ext>
                </a:extLst>
              </p:cNvPr>
              <p:cNvSpPr/>
              <p:nvPr/>
            </p:nvSpPr>
            <p:spPr>
              <a:xfrm>
                <a:off x="5422295"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2 w 141400"/>
                  <a:gd name="connsiteY10" fmla="*/ 100159 h 166124"/>
                  <a:gd name="connsiteX11" fmla="*/ 74172 w 141400"/>
                  <a:gd name="connsiteY11" fmla="*/ 32930 h 166124"/>
                  <a:gd name="connsiteX12" fmla="*/ 40926 w 141400"/>
                  <a:gd name="connsiteY12" fmla="*/ 66807 h 166124"/>
                  <a:gd name="connsiteX13" fmla="*/ 40610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0" y="129512"/>
                      <a:pt x="134036" y="117728"/>
                    </a:cubicBezTo>
                    <a:lnTo>
                      <a:pt x="135509" y="117728"/>
                    </a:lnTo>
                    <a:lnTo>
                      <a:pt x="135509" y="130143"/>
                    </a:lnTo>
                    <a:cubicBezTo>
                      <a:pt x="135509" y="150448"/>
                      <a:pt x="121621" y="166124"/>
                      <a:pt x="78065" y="166124"/>
                    </a:cubicBezTo>
                    <a:cubicBezTo>
                      <a:pt x="38611" y="166124"/>
                      <a:pt x="0" y="134877"/>
                      <a:pt x="0" y="86271"/>
                    </a:cubicBezTo>
                    <a:cubicBezTo>
                      <a:pt x="0" y="33246"/>
                      <a:pt x="32404" y="0"/>
                      <a:pt x="77749" y="0"/>
                    </a:cubicBezTo>
                    <a:cubicBezTo>
                      <a:pt x="110785" y="0"/>
                      <a:pt x="141400" y="23567"/>
                      <a:pt x="141400" y="61547"/>
                    </a:cubicBezTo>
                    <a:cubicBezTo>
                      <a:pt x="141400" y="90690"/>
                      <a:pt x="119306" y="100159"/>
                      <a:pt x="66912" y="100159"/>
                    </a:cubicBezTo>
                    <a:close/>
                    <a:moveTo>
                      <a:pt x="74172" y="32930"/>
                    </a:moveTo>
                    <a:cubicBezTo>
                      <a:pt x="55024" y="32930"/>
                      <a:pt x="41768" y="48501"/>
                      <a:pt x="40926" y="66807"/>
                    </a:cubicBezTo>
                    <a:lnTo>
                      <a:pt x="40610"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21" name="Freeform: Shape 20">
                <a:extLst>
                  <a:ext uri="{FF2B5EF4-FFF2-40B4-BE49-F238E27FC236}">
                    <a16:creationId xmlns:a16="http://schemas.microsoft.com/office/drawing/2014/main" id="{5D2C33BC-8E53-4506-9AAA-70C67C91DBB3}"/>
                  </a:ext>
                </a:extLst>
              </p:cNvPr>
              <p:cNvSpPr/>
              <p:nvPr/>
            </p:nvSpPr>
            <p:spPr>
              <a:xfrm>
                <a:off x="5592312" y="1424729"/>
                <a:ext cx="91636" cy="160548"/>
              </a:xfrm>
              <a:custGeom>
                <a:avLst/>
                <a:gdLst>
                  <a:gd name="connsiteX0" fmla="*/ 90058 w 91636"/>
                  <a:gd name="connsiteY0" fmla="*/ 40084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4"/>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solidFill>
                <a:srgbClr val="004C7D"/>
              </a:solidFill>
              <a:ln w="10508" cap="flat">
                <a:noFill/>
                <a:prstDash val="solid"/>
                <a:miter/>
              </a:ln>
            </p:spPr>
            <p:txBody>
              <a:bodyPr rtlCol="0" anchor="ctr"/>
              <a:lstStyle/>
              <a:p>
                <a:endParaRPr lang="nl-NL"/>
              </a:p>
            </p:txBody>
          </p:sp>
          <p:sp>
            <p:nvSpPr>
              <p:cNvPr id="22" name="Freeform: Shape 21">
                <a:extLst>
                  <a:ext uri="{FF2B5EF4-FFF2-40B4-BE49-F238E27FC236}">
                    <a16:creationId xmlns:a16="http://schemas.microsoft.com/office/drawing/2014/main" id="{25084F8F-E01D-44B8-8054-41AC2B9D11C9}"/>
                  </a:ext>
                </a:extLst>
              </p:cNvPr>
              <p:cNvSpPr/>
              <p:nvPr/>
            </p:nvSpPr>
            <p:spPr>
              <a:xfrm>
                <a:off x="5698046" y="1423256"/>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4 w 131615"/>
                  <a:gd name="connsiteY8" fmla="*/ 51552 h 164651"/>
                  <a:gd name="connsiteX9" fmla="*/ 6734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60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4" y="51552"/>
                    </a:lnTo>
                    <a:lnTo>
                      <a:pt x="6734" y="38927"/>
                    </a:lnTo>
                    <a:cubicBezTo>
                      <a:pt x="6734"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60" y="132563"/>
                    </a:cubicBezTo>
                    <a:cubicBezTo>
                      <a:pt x="85219" y="132563"/>
                      <a:pt x="93215" y="124356"/>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23" name="Freeform: Shape 22">
                <a:extLst>
                  <a:ext uri="{FF2B5EF4-FFF2-40B4-BE49-F238E27FC236}">
                    <a16:creationId xmlns:a16="http://schemas.microsoft.com/office/drawing/2014/main" id="{DE04F2DB-AD99-4A40-B88C-7849888260BE}"/>
                  </a:ext>
                </a:extLst>
              </p:cNvPr>
              <p:cNvSpPr/>
              <p:nvPr/>
            </p:nvSpPr>
            <p:spPr>
              <a:xfrm>
                <a:off x="5861856" y="1390221"/>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6"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24" name="Freeform: Shape 23">
                <a:extLst>
                  <a:ext uri="{FF2B5EF4-FFF2-40B4-BE49-F238E27FC236}">
                    <a16:creationId xmlns:a16="http://schemas.microsoft.com/office/drawing/2014/main" id="{6430CBDC-02A4-4607-B490-6459B5AC1D0B}"/>
                  </a:ext>
                </a:extLst>
              </p:cNvPr>
              <p:cNvSpPr/>
              <p:nvPr/>
            </p:nvSpPr>
            <p:spPr>
              <a:xfrm>
                <a:off x="5978112" y="1368864"/>
                <a:ext cx="74487" cy="217992"/>
              </a:xfrm>
              <a:custGeom>
                <a:avLst/>
                <a:gdLst>
                  <a:gd name="connsiteX0" fmla="*/ 22935 w 74487"/>
                  <a:gd name="connsiteY0" fmla="*/ 46187 h 217992"/>
                  <a:gd name="connsiteX1" fmla="*/ 0 w 74487"/>
                  <a:gd name="connsiteY1" fmla="*/ 22935 h 217992"/>
                  <a:gd name="connsiteX2" fmla="*/ 22935 w 74487"/>
                  <a:gd name="connsiteY2" fmla="*/ 0 h 217992"/>
                  <a:gd name="connsiteX3" fmla="*/ 46187 w 74487"/>
                  <a:gd name="connsiteY3" fmla="*/ 22935 h 217992"/>
                  <a:gd name="connsiteX4" fmla="*/ 22935 w 74487"/>
                  <a:gd name="connsiteY4" fmla="*/ 46187 h 217992"/>
                  <a:gd name="connsiteX5" fmla="*/ 50921 w 74487"/>
                  <a:gd name="connsiteY5" fmla="*/ 217887 h 217992"/>
                  <a:gd name="connsiteX6" fmla="*/ 3472 w 74487"/>
                  <a:gd name="connsiteY6" fmla="*/ 168439 h 217992"/>
                  <a:gd name="connsiteX7" fmla="*/ 3472 w 74487"/>
                  <a:gd name="connsiteY7" fmla="*/ 60916 h 217992"/>
                  <a:gd name="connsiteX8" fmla="*/ 14624 w 74487"/>
                  <a:gd name="connsiteY8" fmla="*/ 60916 h 217992"/>
                  <a:gd name="connsiteX9" fmla="*/ 42925 w 74487"/>
                  <a:gd name="connsiteY9" fmla="*/ 90374 h 217992"/>
                  <a:gd name="connsiteX10" fmla="*/ 42925 w 74487"/>
                  <a:gd name="connsiteY10" fmla="*/ 164651 h 217992"/>
                  <a:gd name="connsiteX11" fmla="*/ 67123 w 74487"/>
                  <a:gd name="connsiteY11" fmla="*/ 185588 h 217992"/>
                  <a:gd name="connsiteX12" fmla="*/ 74488 w 74487"/>
                  <a:gd name="connsiteY12" fmla="*/ 185588 h 217992"/>
                  <a:gd name="connsiteX13" fmla="*/ 74488 w 74487"/>
                  <a:gd name="connsiteY13" fmla="*/ 194110 h 217992"/>
                  <a:gd name="connsiteX14" fmla="*/ 50921 w 74487"/>
                  <a:gd name="connsiteY14" fmla="*/ 217992 h 21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487" h="217992">
                    <a:moveTo>
                      <a:pt x="22935" y="46187"/>
                    </a:moveTo>
                    <a:cubicBezTo>
                      <a:pt x="10311" y="46187"/>
                      <a:pt x="0" y="35561"/>
                      <a:pt x="0" y="22935"/>
                    </a:cubicBezTo>
                    <a:cubicBezTo>
                      <a:pt x="0" y="10310"/>
                      <a:pt x="10311" y="0"/>
                      <a:pt x="22935" y="0"/>
                    </a:cubicBezTo>
                    <a:cubicBezTo>
                      <a:pt x="35561" y="0"/>
                      <a:pt x="46187" y="10310"/>
                      <a:pt x="46187" y="22935"/>
                    </a:cubicBezTo>
                    <a:cubicBezTo>
                      <a:pt x="46187" y="35561"/>
                      <a:pt x="35561" y="46187"/>
                      <a:pt x="22935" y="46187"/>
                    </a:cubicBezTo>
                    <a:close/>
                    <a:moveTo>
                      <a:pt x="50921" y="217887"/>
                    </a:moveTo>
                    <a:cubicBezTo>
                      <a:pt x="20305" y="217887"/>
                      <a:pt x="3472" y="200527"/>
                      <a:pt x="3472" y="168439"/>
                    </a:cubicBezTo>
                    <a:lnTo>
                      <a:pt x="3472" y="60916"/>
                    </a:lnTo>
                    <a:lnTo>
                      <a:pt x="14624" y="60916"/>
                    </a:lnTo>
                    <a:cubicBezTo>
                      <a:pt x="32299" y="60916"/>
                      <a:pt x="42925" y="70385"/>
                      <a:pt x="42925" y="90374"/>
                    </a:cubicBezTo>
                    <a:lnTo>
                      <a:pt x="42925" y="164651"/>
                    </a:lnTo>
                    <a:cubicBezTo>
                      <a:pt x="42925" y="180538"/>
                      <a:pt x="49658" y="185588"/>
                      <a:pt x="67123" y="185588"/>
                    </a:cubicBezTo>
                    <a:lnTo>
                      <a:pt x="74488" y="185588"/>
                    </a:lnTo>
                    <a:lnTo>
                      <a:pt x="74488" y="194110"/>
                    </a:lnTo>
                    <a:cubicBezTo>
                      <a:pt x="74488" y="211154"/>
                      <a:pt x="67754" y="217992"/>
                      <a:pt x="50921" y="217992"/>
                    </a:cubicBezTo>
                    <a:close/>
                  </a:path>
                </a:pathLst>
              </a:custGeom>
              <a:solidFill>
                <a:srgbClr val="004C7D"/>
              </a:solidFill>
              <a:ln w="10508" cap="flat">
                <a:noFill/>
                <a:prstDash val="solid"/>
                <a:miter/>
              </a:ln>
            </p:spPr>
            <p:txBody>
              <a:bodyPr rtlCol="0" anchor="ctr"/>
              <a:lstStyle/>
              <a:p>
                <a:endParaRPr lang="nl-NL"/>
              </a:p>
            </p:txBody>
          </p:sp>
          <p:sp>
            <p:nvSpPr>
              <p:cNvPr id="27" name="Freeform: Shape 26">
                <a:extLst>
                  <a:ext uri="{FF2B5EF4-FFF2-40B4-BE49-F238E27FC236}">
                    <a16:creationId xmlns:a16="http://schemas.microsoft.com/office/drawing/2014/main" id="{62D33C18-1217-40BA-B246-E0778432E0B6}"/>
                  </a:ext>
                </a:extLst>
              </p:cNvPr>
              <p:cNvSpPr/>
              <p:nvPr/>
            </p:nvSpPr>
            <p:spPr>
              <a:xfrm>
                <a:off x="6073957" y="1422836"/>
                <a:ext cx="139927" cy="162547"/>
              </a:xfrm>
              <a:custGeom>
                <a:avLst/>
                <a:gdLst>
                  <a:gd name="connsiteX0" fmla="*/ 129196 w 139927"/>
                  <a:gd name="connsiteY0" fmla="*/ 162442 h 162547"/>
                  <a:gd name="connsiteX1" fmla="*/ 100369 w 139927"/>
                  <a:gd name="connsiteY1" fmla="*/ 136561 h 162547"/>
                  <a:gd name="connsiteX2" fmla="*/ 100369 w 139927"/>
                  <a:gd name="connsiteY2" fmla="*/ 73541 h 162547"/>
                  <a:gd name="connsiteX3" fmla="*/ 68280 w 139927"/>
                  <a:gd name="connsiteY3" fmla="*/ 34929 h 162547"/>
                  <a:gd name="connsiteX4" fmla="*/ 39453 w 139927"/>
                  <a:gd name="connsiteY4" fmla="*/ 70595 h 162547"/>
                  <a:gd name="connsiteX5" fmla="*/ 39453 w 139927"/>
                  <a:gd name="connsiteY5" fmla="*/ 162547 h 162547"/>
                  <a:gd name="connsiteX6" fmla="*/ 27670 w 139927"/>
                  <a:gd name="connsiteY6" fmla="*/ 162547 h 162547"/>
                  <a:gd name="connsiteX7" fmla="*/ 0 w 139927"/>
                  <a:gd name="connsiteY7" fmla="*/ 136666 h 162547"/>
                  <a:gd name="connsiteX8" fmla="*/ 0 w 139927"/>
                  <a:gd name="connsiteY8" fmla="*/ 68070 h 162547"/>
                  <a:gd name="connsiteX9" fmla="*/ 71542 w 139927"/>
                  <a:gd name="connsiteY9" fmla="*/ 0 h 162547"/>
                  <a:gd name="connsiteX10" fmla="*/ 139927 w 139927"/>
                  <a:gd name="connsiteY10" fmla="*/ 70069 h 162547"/>
                  <a:gd name="connsiteX11" fmla="*/ 139927 w 139927"/>
                  <a:gd name="connsiteY11" fmla="*/ 162547 h 162547"/>
                  <a:gd name="connsiteX12" fmla="*/ 129301 w 139927"/>
                  <a:gd name="connsiteY12" fmla="*/ 162547 h 16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927" h="162547">
                    <a:moveTo>
                      <a:pt x="129196" y="162442"/>
                    </a:moveTo>
                    <a:cubicBezTo>
                      <a:pt x="111521" y="162442"/>
                      <a:pt x="100369" y="151290"/>
                      <a:pt x="100369" y="136561"/>
                    </a:cubicBezTo>
                    <a:lnTo>
                      <a:pt x="100369" y="73541"/>
                    </a:lnTo>
                    <a:cubicBezTo>
                      <a:pt x="100369" y="46713"/>
                      <a:pt x="88585" y="34929"/>
                      <a:pt x="68280" y="34929"/>
                    </a:cubicBezTo>
                    <a:cubicBezTo>
                      <a:pt x="51237" y="34929"/>
                      <a:pt x="39453" y="47870"/>
                      <a:pt x="39453" y="70595"/>
                    </a:cubicBezTo>
                    <a:lnTo>
                      <a:pt x="39453" y="162547"/>
                    </a:lnTo>
                    <a:lnTo>
                      <a:pt x="27670" y="162547"/>
                    </a:lnTo>
                    <a:cubicBezTo>
                      <a:pt x="10836" y="162547"/>
                      <a:pt x="0" y="151395"/>
                      <a:pt x="0" y="136666"/>
                    </a:cubicBezTo>
                    <a:lnTo>
                      <a:pt x="0" y="68070"/>
                    </a:lnTo>
                    <a:cubicBezTo>
                      <a:pt x="0" y="34508"/>
                      <a:pt x="22094" y="0"/>
                      <a:pt x="71542" y="0"/>
                    </a:cubicBezTo>
                    <a:cubicBezTo>
                      <a:pt x="108996" y="0"/>
                      <a:pt x="139927" y="25040"/>
                      <a:pt x="139927" y="70069"/>
                    </a:cubicBezTo>
                    <a:lnTo>
                      <a:pt x="139927" y="162547"/>
                    </a:lnTo>
                    <a:lnTo>
                      <a:pt x="129301" y="162547"/>
                    </a:lnTo>
                    <a:close/>
                  </a:path>
                </a:pathLst>
              </a:custGeom>
              <a:solidFill>
                <a:srgbClr val="004C7D"/>
              </a:solidFill>
              <a:ln w="10508" cap="flat">
                <a:noFill/>
                <a:prstDash val="solid"/>
                <a:miter/>
              </a:ln>
            </p:spPr>
            <p:txBody>
              <a:bodyPr rtlCol="0" anchor="ctr"/>
              <a:lstStyle/>
              <a:p>
                <a:endParaRPr lang="nl-NL"/>
              </a:p>
            </p:txBody>
          </p:sp>
          <p:sp>
            <p:nvSpPr>
              <p:cNvPr id="28" name="Freeform: Shape 27">
                <a:extLst>
                  <a:ext uri="{FF2B5EF4-FFF2-40B4-BE49-F238E27FC236}">
                    <a16:creationId xmlns:a16="http://schemas.microsoft.com/office/drawing/2014/main" id="{500B209B-63E9-46B4-8F1B-D7EFDB1F1D0C}"/>
                  </a:ext>
                </a:extLst>
              </p:cNvPr>
              <p:cNvSpPr/>
              <p:nvPr/>
            </p:nvSpPr>
            <p:spPr>
              <a:xfrm>
                <a:off x="6241975" y="1422730"/>
                <a:ext cx="146660" cy="213783"/>
              </a:xfrm>
              <a:custGeom>
                <a:avLst/>
                <a:gdLst>
                  <a:gd name="connsiteX0" fmla="*/ 146029 w 146660"/>
                  <a:gd name="connsiteY0" fmla="*/ 118044 h 213783"/>
                  <a:gd name="connsiteX1" fmla="*/ 146661 w 146660"/>
                  <a:gd name="connsiteY1" fmla="*/ 138349 h 213783"/>
                  <a:gd name="connsiteX2" fmla="*/ 68911 w 146660"/>
                  <a:gd name="connsiteY2" fmla="*/ 213784 h 213783"/>
                  <a:gd name="connsiteX3" fmla="*/ 13782 w 146660"/>
                  <a:gd name="connsiteY3" fmla="*/ 179065 h 213783"/>
                  <a:gd name="connsiteX4" fmla="*/ 13782 w 146660"/>
                  <a:gd name="connsiteY4" fmla="*/ 161074 h 213783"/>
                  <a:gd name="connsiteX5" fmla="*/ 15571 w 146660"/>
                  <a:gd name="connsiteY5" fmla="*/ 161074 h 213783"/>
                  <a:gd name="connsiteX6" fmla="*/ 65966 w 146660"/>
                  <a:gd name="connsiteY6" fmla="*/ 178118 h 213783"/>
                  <a:gd name="connsiteX7" fmla="*/ 107523 w 146660"/>
                  <a:gd name="connsiteY7" fmla="*/ 141611 h 213783"/>
                  <a:gd name="connsiteX8" fmla="*/ 106892 w 146660"/>
                  <a:gd name="connsiteY8" fmla="*/ 125409 h 213783"/>
                  <a:gd name="connsiteX9" fmla="*/ 106892 w 146660"/>
                  <a:gd name="connsiteY9" fmla="*/ 121621 h 213783"/>
                  <a:gd name="connsiteX10" fmla="*/ 65966 w 146660"/>
                  <a:gd name="connsiteY10" fmla="*/ 145188 h 213783"/>
                  <a:gd name="connsiteX11" fmla="*/ 0 w 146660"/>
                  <a:gd name="connsiteY11" fmla="*/ 81011 h 213783"/>
                  <a:gd name="connsiteX12" fmla="*/ 80695 w 146660"/>
                  <a:gd name="connsiteY12" fmla="*/ 0 h 213783"/>
                  <a:gd name="connsiteX13" fmla="*/ 145503 w 146660"/>
                  <a:gd name="connsiteY13" fmla="*/ 69543 h 213783"/>
                  <a:gd name="connsiteX14" fmla="*/ 145503 w 146660"/>
                  <a:gd name="connsiteY14" fmla="*/ 96687 h 213783"/>
                  <a:gd name="connsiteX15" fmla="*/ 146135 w 146660"/>
                  <a:gd name="connsiteY15" fmla="*/ 118149 h 213783"/>
                  <a:gd name="connsiteX16" fmla="*/ 40610 w 146660"/>
                  <a:gd name="connsiteY16" fmla="*/ 75961 h 213783"/>
                  <a:gd name="connsiteX17" fmla="*/ 72173 w 146660"/>
                  <a:gd name="connsiteY17" fmla="*/ 111942 h 213783"/>
                  <a:gd name="connsiteX18" fmla="*/ 106050 w 146660"/>
                  <a:gd name="connsiteY18" fmla="*/ 71857 h 213783"/>
                  <a:gd name="connsiteX19" fmla="*/ 76276 w 146660"/>
                  <a:gd name="connsiteY19" fmla="*/ 35034 h 213783"/>
                  <a:gd name="connsiteX20" fmla="*/ 40610 w 146660"/>
                  <a:gd name="connsiteY20" fmla="*/ 75961 h 21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660" h="213783">
                    <a:moveTo>
                      <a:pt x="146029" y="118044"/>
                    </a:moveTo>
                    <a:cubicBezTo>
                      <a:pt x="146345" y="124567"/>
                      <a:pt x="146661" y="133089"/>
                      <a:pt x="146661" y="138349"/>
                    </a:cubicBezTo>
                    <a:cubicBezTo>
                      <a:pt x="146661" y="178118"/>
                      <a:pt x="120148" y="213784"/>
                      <a:pt x="68911" y="213784"/>
                    </a:cubicBezTo>
                    <a:cubicBezTo>
                      <a:pt x="36192" y="213784"/>
                      <a:pt x="13782" y="197897"/>
                      <a:pt x="13782" y="179065"/>
                    </a:cubicBezTo>
                    <a:lnTo>
                      <a:pt x="13782" y="161074"/>
                    </a:lnTo>
                    <a:lnTo>
                      <a:pt x="15571" y="161074"/>
                    </a:lnTo>
                    <a:cubicBezTo>
                      <a:pt x="25039" y="171069"/>
                      <a:pt x="43241" y="178118"/>
                      <a:pt x="65966" y="178118"/>
                    </a:cubicBezTo>
                    <a:cubicBezTo>
                      <a:pt x="94582" y="178118"/>
                      <a:pt x="108365" y="164546"/>
                      <a:pt x="107523" y="141611"/>
                    </a:cubicBezTo>
                    <a:lnTo>
                      <a:pt x="106892" y="125409"/>
                    </a:lnTo>
                    <a:lnTo>
                      <a:pt x="106892" y="121621"/>
                    </a:lnTo>
                    <a:cubicBezTo>
                      <a:pt x="103630" y="133089"/>
                      <a:pt x="88585" y="145188"/>
                      <a:pt x="65966" y="145188"/>
                    </a:cubicBezTo>
                    <a:cubicBezTo>
                      <a:pt x="27354" y="145188"/>
                      <a:pt x="0" y="118360"/>
                      <a:pt x="0" y="81011"/>
                    </a:cubicBezTo>
                    <a:cubicBezTo>
                      <a:pt x="0" y="36192"/>
                      <a:pt x="29458" y="0"/>
                      <a:pt x="80695" y="0"/>
                    </a:cubicBezTo>
                    <a:cubicBezTo>
                      <a:pt x="120148" y="0"/>
                      <a:pt x="145503" y="28827"/>
                      <a:pt x="145503" y="69543"/>
                    </a:cubicBezTo>
                    <a:lnTo>
                      <a:pt x="145503" y="96687"/>
                    </a:lnTo>
                    <a:cubicBezTo>
                      <a:pt x="145503" y="101947"/>
                      <a:pt x="145819" y="111100"/>
                      <a:pt x="146135" y="118149"/>
                    </a:cubicBezTo>
                    <a:close/>
                    <a:moveTo>
                      <a:pt x="40610" y="75961"/>
                    </a:moveTo>
                    <a:cubicBezTo>
                      <a:pt x="40610" y="96581"/>
                      <a:pt x="53235" y="111942"/>
                      <a:pt x="72173" y="111942"/>
                    </a:cubicBezTo>
                    <a:cubicBezTo>
                      <a:pt x="91111" y="111942"/>
                      <a:pt x="106050" y="97213"/>
                      <a:pt x="106050" y="71857"/>
                    </a:cubicBezTo>
                    <a:cubicBezTo>
                      <a:pt x="106050" y="46502"/>
                      <a:pt x="93636" y="35034"/>
                      <a:pt x="76276" y="35034"/>
                    </a:cubicBezTo>
                    <a:cubicBezTo>
                      <a:pt x="55971" y="35034"/>
                      <a:pt x="40610" y="52078"/>
                      <a:pt x="40610" y="75961"/>
                    </a:cubicBezTo>
                    <a:close/>
                  </a:path>
                </a:pathLst>
              </a:custGeom>
              <a:solidFill>
                <a:srgbClr val="004C7D"/>
              </a:solidFill>
              <a:ln w="10508" cap="flat">
                <a:noFill/>
                <a:prstDash val="solid"/>
                <a:miter/>
              </a:ln>
            </p:spPr>
            <p:txBody>
              <a:bodyPr rtlCol="0" anchor="ctr"/>
              <a:lstStyle/>
              <a:p>
                <a:endParaRPr lang="nl-NL"/>
              </a:p>
            </p:txBody>
          </p:sp>
          <p:sp>
            <p:nvSpPr>
              <p:cNvPr id="29" name="Freeform: Shape 28">
                <a:extLst>
                  <a:ext uri="{FF2B5EF4-FFF2-40B4-BE49-F238E27FC236}">
                    <a16:creationId xmlns:a16="http://schemas.microsoft.com/office/drawing/2014/main" id="{54B0B14B-FFD5-4350-8818-C76F874DB338}"/>
                  </a:ext>
                </a:extLst>
              </p:cNvPr>
              <p:cNvSpPr/>
              <p:nvPr/>
            </p:nvSpPr>
            <p:spPr>
              <a:xfrm>
                <a:off x="469404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3"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30" name="Freeform: Shape 29">
                <a:extLst>
                  <a:ext uri="{FF2B5EF4-FFF2-40B4-BE49-F238E27FC236}">
                    <a16:creationId xmlns:a16="http://schemas.microsoft.com/office/drawing/2014/main" id="{046B36CB-E929-4C9C-B8E6-3DDBD64F96CB}"/>
                  </a:ext>
                </a:extLst>
              </p:cNvPr>
              <p:cNvSpPr/>
              <p:nvPr/>
            </p:nvSpPr>
            <p:spPr>
              <a:xfrm>
                <a:off x="4813979" y="1688908"/>
                <a:ext cx="140032" cy="212100"/>
              </a:xfrm>
              <a:custGeom>
                <a:avLst/>
                <a:gdLst>
                  <a:gd name="connsiteX0" fmla="*/ 127092 w 140032"/>
                  <a:gd name="connsiteY0" fmla="*/ 211995 h 212100"/>
                  <a:gd name="connsiteX1" fmla="*/ 100264 w 140032"/>
                  <a:gd name="connsiteY1" fmla="*/ 185483 h 212100"/>
                  <a:gd name="connsiteX2" fmla="*/ 100264 w 140032"/>
                  <a:gd name="connsiteY2" fmla="*/ 120674 h 212100"/>
                  <a:gd name="connsiteX3" fmla="*/ 68701 w 140032"/>
                  <a:gd name="connsiteY3" fmla="*/ 84482 h 212100"/>
                  <a:gd name="connsiteX4" fmla="*/ 40084 w 140032"/>
                  <a:gd name="connsiteY4" fmla="*/ 121937 h 212100"/>
                  <a:gd name="connsiteX5" fmla="*/ 40084 w 140032"/>
                  <a:gd name="connsiteY5" fmla="*/ 212100 h 212100"/>
                  <a:gd name="connsiteX6" fmla="*/ 27144 w 140032"/>
                  <a:gd name="connsiteY6" fmla="*/ 212100 h 212100"/>
                  <a:gd name="connsiteX7" fmla="*/ 0 w 140032"/>
                  <a:gd name="connsiteY7" fmla="*/ 185588 h 212100"/>
                  <a:gd name="connsiteX8" fmla="*/ 0 w 140032"/>
                  <a:gd name="connsiteY8" fmla="*/ 0 h 212100"/>
                  <a:gd name="connsiteX9" fmla="*/ 12415 w 140032"/>
                  <a:gd name="connsiteY9" fmla="*/ 0 h 212100"/>
                  <a:gd name="connsiteX10" fmla="*/ 40400 w 140032"/>
                  <a:gd name="connsiteY10" fmla="*/ 25355 h 212100"/>
                  <a:gd name="connsiteX11" fmla="*/ 40400 w 140032"/>
                  <a:gd name="connsiteY11" fmla="*/ 70700 h 212100"/>
                  <a:gd name="connsiteX12" fmla="*/ 74908 w 140032"/>
                  <a:gd name="connsiteY12" fmla="*/ 49448 h 212100"/>
                  <a:gd name="connsiteX13" fmla="*/ 140033 w 140032"/>
                  <a:gd name="connsiteY13" fmla="*/ 118991 h 212100"/>
                  <a:gd name="connsiteX14" fmla="*/ 140033 w 140032"/>
                  <a:gd name="connsiteY14" fmla="*/ 212100 h 212100"/>
                  <a:gd name="connsiteX15" fmla="*/ 127092 w 140032"/>
                  <a:gd name="connsiteY15" fmla="*/ 212100 h 21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032" h="212100">
                    <a:moveTo>
                      <a:pt x="127092" y="211995"/>
                    </a:moveTo>
                    <a:cubicBezTo>
                      <a:pt x="110574" y="211995"/>
                      <a:pt x="100264" y="202526"/>
                      <a:pt x="100264" y="185483"/>
                    </a:cubicBezTo>
                    <a:lnTo>
                      <a:pt x="100264" y="120674"/>
                    </a:lnTo>
                    <a:cubicBezTo>
                      <a:pt x="100264" y="94793"/>
                      <a:pt x="86166" y="84482"/>
                      <a:pt x="68701" y="84482"/>
                    </a:cubicBezTo>
                    <a:cubicBezTo>
                      <a:pt x="56287" y="84482"/>
                      <a:pt x="40084" y="93951"/>
                      <a:pt x="40084" y="121937"/>
                    </a:cubicBezTo>
                    <a:lnTo>
                      <a:pt x="40084" y="212100"/>
                    </a:lnTo>
                    <a:lnTo>
                      <a:pt x="27144" y="212100"/>
                    </a:lnTo>
                    <a:cubicBezTo>
                      <a:pt x="8627" y="212100"/>
                      <a:pt x="0" y="201790"/>
                      <a:pt x="0" y="185588"/>
                    </a:cubicBezTo>
                    <a:lnTo>
                      <a:pt x="0" y="0"/>
                    </a:lnTo>
                    <a:lnTo>
                      <a:pt x="12415" y="0"/>
                    </a:lnTo>
                    <a:cubicBezTo>
                      <a:pt x="31247" y="0"/>
                      <a:pt x="40400" y="10626"/>
                      <a:pt x="40400" y="25355"/>
                    </a:cubicBezTo>
                    <a:lnTo>
                      <a:pt x="40400" y="70700"/>
                    </a:lnTo>
                    <a:cubicBezTo>
                      <a:pt x="46292" y="61231"/>
                      <a:pt x="59864" y="49448"/>
                      <a:pt x="74908" y="49448"/>
                    </a:cubicBezTo>
                    <a:cubicBezTo>
                      <a:pt x="115835" y="49448"/>
                      <a:pt x="140033" y="73856"/>
                      <a:pt x="140033" y="118991"/>
                    </a:cubicBezTo>
                    <a:lnTo>
                      <a:pt x="140033" y="212100"/>
                    </a:lnTo>
                    <a:lnTo>
                      <a:pt x="127092" y="212100"/>
                    </a:lnTo>
                    <a:close/>
                  </a:path>
                </a:pathLst>
              </a:custGeom>
              <a:solidFill>
                <a:srgbClr val="004C7D"/>
              </a:solidFill>
              <a:ln w="10508" cap="flat">
                <a:noFill/>
                <a:prstDash val="solid"/>
                <a:miter/>
              </a:ln>
            </p:spPr>
            <p:txBody>
              <a:bodyPr rtlCol="0" anchor="ctr"/>
              <a:lstStyle/>
              <a:p>
                <a:endParaRPr lang="nl-NL" dirty="0"/>
              </a:p>
            </p:txBody>
          </p:sp>
          <p:sp>
            <p:nvSpPr>
              <p:cNvPr id="31" name="Freeform: Shape 30">
                <a:extLst>
                  <a:ext uri="{FF2B5EF4-FFF2-40B4-BE49-F238E27FC236}">
                    <a16:creationId xmlns:a16="http://schemas.microsoft.com/office/drawing/2014/main" id="{89AC5DFB-E2D9-4299-A2CC-B53B44A4E3F1}"/>
                  </a:ext>
                </a:extLst>
              </p:cNvPr>
              <p:cNvSpPr/>
              <p:nvPr/>
            </p:nvSpPr>
            <p:spPr>
              <a:xfrm>
                <a:off x="4982839" y="1738356"/>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32" name="Freeform: Shape 31">
                <a:extLst>
                  <a:ext uri="{FF2B5EF4-FFF2-40B4-BE49-F238E27FC236}">
                    <a16:creationId xmlns:a16="http://schemas.microsoft.com/office/drawing/2014/main" id="{A6CFCD1C-BDDB-4E32-9C30-07BBD18A798B}"/>
                  </a:ext>
                </a:extLst>
              </p:cNvPr>
              <p:cNvSpPr/>
              <p:nvPr/>
            </p:nvSpPr>
            <p:spPr>
              <a:xfrm>
                <a:off x="5219979" y="1685857"/>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solidFill>
                <a:srgbClr val="004C7D"/>
              </a:solidFill>
              <a:ln w="10508" cap="flat">
                <a:noFill/>
                <a:prstDash val="solid"/>
                <a:miter/>
              </a:ln>
            </p:spPr>
            <p:txBody>
              <a:bodyPr rtlCol="0" anchor="ctr"/>
              <a:lstStyle/>
              <a:p>
                <a:endParaRPr lang="nl-NL"/>
              </a:p>
            </p:txBody>
          </p:sp>
          <p:sp>
            <p:nvSpPr>
              <p:cNvPr id="33" name="Freeform: Shape 32">
                <a:extLst>
                  <a:ext uri="{FF2B5EF4-FFF2-40B4-BE49-F238E27FC236}">
                    <a16:creationId xmlns:a16="http://schemas.microsoft.com/office/drawing/2014/main" id="{24857135-3224-4166-974D-39BDCF47C788}"/>
                  </a:ext>
                </a:extLst>
              </p:cNvPr>
              <p:cNvSpPr/>
              <p:nvPr/>
            </p:nvSpPr>
            <p:spPr>
              <a:xfrm>
                <a:off x="5326976"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5 w 139611"/>
                  <a:gd name="connsiteY3" fmla="*/ 0 h 162652"/>
                  <a:gd name="connsiteX4" fmla="*/ 40085 w 139611"/>
                  <a:gd name="connsiteY4" fmla="*/ 28301 h 162652"/>
                  <a:gd name="connsiteX5" fmla="*/ 40085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5" y="0"/>
                    </a:lnTo>
                    <a:cubicBezTo>
                      <a:pt x="30090" y="0"/>
                      <a:pt x="40085" y="9679"/>
                      <a:pt x="40085" y="28301"/>
                    </a:cubicBezTo>
                    <a:lnTo>
                      <a:pt x="40085" y="86587"/>
                    </a:lnTo>
                    <a:cubicBezTo>
                      <a:pt x="40085"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solidFill>
                <a:srgbClr val="004C7D"/>
              </a:solidFill>
              <a:ln w="10508" cap="flat">
                <a:noFill/>
                <a:prstDash val="solid"/>
                <a:miter/>
              </a:ln>
            </p:spPr>
            <p:txBody>
              <a:bodyPr rtlCol="0" anchor="ctr"/>
              <a:lstStyle/>
              <a:p>
                <a:endParaRPr lang="nl-NL"/>
              </a:p>
            </p:txBody>
          </p:sp>
          <p:sp>
            <p:nvSpPr>
              <p:cNvPr id="34" name="Freeform: Shape 33">
                <a:extLst>
                  <a:ext uri="{FF2B5EF4-FFF2-40B4-BE49-F238E27FC236}">
                    <a16:creationId xmlns:a16="http://schemas.microsoft.com/office/drawing/2014/main" id="{7DD86613-3893-453E-99E2-9983D0CFE967}"/>
                  </a:ext>
                </a:extLst>
              </p:cNvPr>
              <p:cNvSpPr/>
              <p:nvPr/>
            </p:nvSpPr>
            <p:spPr>
              <a:xfrm>
                <a:off x="550341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35" name="Freeform: Shape 34">
                <a:extLst>
                  <a:ext uri="{FF2B5EF4-FFF2-40B4-BE49-F238E27FC236}">
                    <a16:creationId xmlns:a16="http://schemas.microsoft.com/office/drawing/2014/main" id="{F56A2F96-BA93-4FFC-A201-DDE2D898190B}"/>
                  </a:ext>
                </a:extLst>
              </p:cNvPr>
              <p:cNvSpPr/>
              <p:nvPr/>
            </p:nvSpPr>
            <p:spPr>
              <a:xfrm>
                <a:off x="5620298"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4 w 139611"/>
                  <a:gd name="connsiteY3" fmla="*/ 0 h 162652"/>
                  <a:gd name="connsiteX4" fmla="*/ 40084 w 139611"/>
                  <a:gd name="connsiteY4" fmla="*/ 28301 h 162652"/>
                  <a:gd name="connsiteX5" fmla="*/ 40084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4" y="0"/>
                    </a:lnTo>
                    <a:cubicBezTo>
                      <a:pt x="30089" y="0"/>
                      <a:pt x="40084" y="9679"/>
                      <a:pt x="40084" y="28301"/>
                    </a:cubicBezTo>
                    <a:lnTo>
                      <a:pt x="40084" y="86587"/>
                    </a:lnTo>
                    <a:cubicBezTo>
                      <a:pt x="40084"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solidFill>
                <a:srgbClr val="004C7D"/>
              </a:solidFill>
              <a:ln w="10508" cap="flat">
                <a:noFill/>
                <a:prstDash val="solid"/>
                <a:miter/>
              </a:ln>
            </p:spPr>
            <p:txBody>
              <a:bodyPr rtlCol="0" anchor="ctr"/>
              <a:lstStyle/>
              <a:p>
                <a:endParaRPr lang="nl-NL"/>
              </a:p>
            </p:txBody>
          </p:sp>
          <p:sp>
            <p:nvSpPr>
              <p:cNvPr id="36" name="Freeform: Shape 35">
                <a:extLst>
                  <a:ext uri="{FF2B5EF4-FFF2-40B4-BE49-F238E27FC236}">
                    <a16:creationId xmlns:a16="http://schemas.microsoft.com/office/drawing/2014/main" id="{C5942C9D-1F74-4DEE-A723-40C087C7FCDC}"/>
                  </a:ext>
                </a:extLst>
              </p:cNvPr>
              <p:cNvSpPr/>
              <p:nvPr/>
            </p:nvSpPr>
            <p:spPr>
              <a:xfrm>
                <a:off x="5795154" y="1740355"/>
                <a:ext cx="91636" cy="160548"/>
              </a:xfrm>
              <a:custGeom>
                <a:avLst/>
                <a:gdLst>
                  <a:gd name="connsiteX0" fmla="*/ 90058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solidFill>
                <a:srgbClr val="004C7D"/>
              </a:solidFill>
              <a:ln w="10508" cap="flat">
                <a:noFill/>
                <a:prstDash val="solid"/>
                <a:miter/>
              </a:ln>
            </p:spPr>
            <p:txBody>
              <a:bodyPr rtlCol="0" anchor="ctr"/>
              <a:lstStyle/>
              <a:p>
                <a:endParaRPr lang="nl-NL"/>
              </a:p>
            </p:txBody>
          </p:sp>
          <p:sp>
            <p:nvSpPr>
              <p:cNvPr id="37" name="Freeform: Shape 36">
                <a:extLst>
                  <a:ext uri="{FF2B5EF4-FFF2-40B4-BE49-F238E27FC236}">
                    <a16:creationId xmlns:a16="http://schemas.microsoft.com/office/drawing/2014/main" id="{27C3328C-6B6D-48AA-ABA4-83114102B425}"/>
                  </a:ext>
                </a:extLst>
              </p:cNvPr>
              <p:cNvSpPr/>
              <p:nvPr/>
            </p:nvSpPr>
            <p:spPr>
              <a:xfrm>
                <a:off x="5900468" y="1738356"/>
                <a:ext cx="141400" cy="166124"/>
              </a:xfrm>
              <a:custGeom>
                <a:avLst/>
                <a:gdLst>
                  <a:gd name="connsiteX0" fmla="*/ 66807 w 141400"/>
                  <a:gd name="connsiteY0" fmla="*/ 100053 h 166124"/>
                  <a:gd name="connsiteX1" fmla="*/ 40926 w 141400"/>
                  <a:gd name="connsiteY1" fmla="*/ 100053 h 166124"/>
                  <a:gd name="connsiteX2" fmla="*/ 85430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30"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38" name="Freeform: Shape 37">
                <a:extLst>
                  <a:ext uri="{FF2B5EF4-FFF2-40B4-BE49-F238E27FC236}">
                    <a16:creationId xmlns:a16="http://schemas.microsoft.com/office/drawing/2014/main" id="{E92FACCD-A595-461A-9DAA-3FFF2C5FEF52}"/>
                  </a:ext>
                </a:extLst>
              </p:cNvPr>
              <p:cNvSpPr/>
              <p:nvPr/>
            </p:nvSpPr>
            <p:spPr>
              <a:xfrm>
                <a:off x="4685099"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224 w 153814"/>
                  <a:gd name="connsiteY5" fmla="*/ 35455 h 166229"/>
                  <a:gd name="connsiteX6" fmla="*/ 41031 w 153814"/>
                  <a:gd name="connsiteY6" fmla="*/ 80485 h 166229"/>
                  <a:gd name="connsiteX7" fmla="*/ 78696 w 153814"/>
                  <a:gd name="connsiteY7" fmla="*/ 130879 h 166229"/>
                  <a:gd name="connsiteX8" fmla="*/ 112889 w 153814"/>
                  <a:gd name="connsiteY8" fmla="*/ 86061 h 166229"/>
                  <a:gd name="connsiteX9" fmla="*/ 75224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224" y="35455"/>
                    </a:moveTo>
                    <a:cubicBezTo>
                      <a:pt x="52499" y="35455"/>
                      <a:pt x="41031" y="54288"/>
                      <a:pt x="41031" y="80485"/>
                    </a:cubicBezTo>
                    <a:cubicBezTo>
                      <a:pt x="41031" y="112047"/>
                      <a:pt x="52499" y="130879"/>
                      <a:pt x="78696" y="130879"/>
                    </a:cubicBezTo>
                    <a:cubicBezTo>
                      <a:pt x="101631" y="130879"/>
                      <a:pt x="112889" y="112047"/>
                      <a:pt x="112889" y="86061"/>
                    </a:cubicBezTo>
                    <a:cubicBezTo>
                      <a:pt x="112889" y="54288"/>
                      <a:pt x="101105" y="35350"/>
                      <a:pt x="75224" y="35350"/>
                    </a:cubicBezTo>
                    <a:close/>
                  </a:path>
                </a:pathLst>
              </a:custGeom>
              <a:solidFill>
                <a:srgbClr val="004C7D"/>
              </a:solidFill>
              <a:ln w="10508" cap="flat">
                <a:noFill/>
                <a:prstDash val="solid"/>
                <a:miter/>
              </a:ln>
            </p:spPr>
            <p:txBody>
              <a:bodyPr rtlCol="0" anchor="ctr"/>
              <a:lstStyle/>
              <a:p>
                <a:endParaRPr lang="nl-NL"/>
              </a:p>
            </p:txBody>
          </p:sp>
          <p:sp>
            <p:nvSpPr>
              <p:cNvPr id="39" name="Freeform: Shape 38">
                <a:extLst>
                  <a:ext uri="{FF2B5EF4-FFF2-40B4-BE49-F238E27FC236}">
                    <a16:creationId xmlns:a16="http://schemas.microsoft.com/office/drawing/2014/main" id="{3C736FCF-1069-4986-B091-002B0DE7D35D}"/>
                  </a:ext>
                </a:extLst>
              </p:cNvPr>
              <p:cNvSpPr/>
              <p:nvPr/>
            </p:nvSpPr>
            <p:spPr>
              <a:xfrm>
                <a:off x="4868267" y="2001483"/>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solidFill>
                <a:srgbClr val="004C7D"/>
              </a:solidFill>
              <a:ln w="10508" cap="flat">
                <a:noFill/>
                <a:prstDash val="solid"/>
                <a:miter/>
              </a:ln>
            </p:spPr>
            <p:txBody>
              <a:bodyPr rtlCol="0" anchor="ctr"/>
              <a:lstStyle/>
              <a:p>
                <a:endParaRPr lang="nl-NL"/>
              </a:p>
            </p:txBody>
          </p:sp>
          <p:sp>
            <p:nvSpPr>
              <p:cNvPr id="40" name="Freeform: Shape 39">
                <a:extLst>
                  <a:ext uri="{FF2B5EF4-FFF2-40B4-BE49-F238E27FC236}">
                    <a16:creationId xmlns:a16="http://schemas.microsoft.com/office/drawing/2014/main" id="{96BE667C-C2A7-41CB-85CC-1ED6467AC5FC}"/>
                  </a:ext>
                </a:extLst>
              </p:cNvPr>
              <p:cNvSpPr/>
              <p:nvPr/>
            </p:nvSpPr>
            <p:spPr>
              <a:xfrm>
                <a:off x="5034917"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41" name="Freeform: Shape 40">
                <a:extLst>
                  <a:ext uri="{FF2B5EF4-FFF2-40B4-BE49-F238E27FC236}">
                    <a16:creationId xmlns:a16="http://schemas.microsoft.com/office/drawing/2014/main" id="{722495E2-68F6-4C75-B8A7-F24608DFBC8A}"/>
                  </a:ext>
                </a:extLst>
              </p:cNvPr>
              <p:cNvSpPr/>
              <p:nvPr/>
            </p:nvSpPr>
            <p:spPr>
              <a:xfrm>
                <a:off x="5190941"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42" name="Freeform: Shape 41">
                <a:extLst>
                  <a:ext uri="{FF2B5EF4-FFF2-40B4-BE49-F238E27FC236}">
                    <a16:creationId xmlns:a16="http://schemas.microsoft.com/office/drawing/2014/main" id="{A180EF19-B983-479D-80E2-2468A7D3CF34}"/>
                  </a:ext>
                </a:extLst>
              </p:cNvPr>
              <p:cNvSpPr/>
              <p:nvPr/>
            </p:nvSpPr>
            <p:spPr>
              <a:xfrm>
                <a:off x="5360853" y="2055981"/>
                <a:ext cx="91636" cy="160548"/>
              </a:xfrm>
              <a:custGeom>
                <a:avLst/>
                <a:gdLst>
                  <a:gd name="connsiteX0" fmla="*/ 90059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4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9"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10" y="0"/>
                      <a:pt x="91637" y="13888"/>
                      <a:pt x="91637" y="25881"/>
                    </a:cubicBezTo>
                    <a:lnTo>
                      <a:pt x="91637" y="39979"/>
                    </a:lnTo>
                    <a:lnTo>
                      <a:pt x="90164" y="39979"/>
                    </a:lnTo>
                    <a:close/>
                  </a:path>
                </a:pathLst>
              </a:custGeom>
              <a:solidFill>
                <a:srgbClr val="004C7D"/>
              </a:solidFill>
              <a:ln w="10508" cap="flat">
                <a:noFill/>
                <a:prstDash val="solid"/>
                <a:miter/>
              </a:ln>
            </p:spPr>
            <p:txBody>
              <a:bodyPr rtlCol="0" anchor="ctr"/>
              <a:lstStyle/>
              <a:p>
                <a:endParaRPr lang="nl-NL"/>
              </a:p>
            </p:txBody>
          </p:sp>
          <p:sp>
            <p:nvSpPr>
              <p:cNvPr id="43" name="Freeform: Shape 42">
                <a:extLst>
                  <a:ext uri="{FF2B5EF4-FFF2-40B4-BE49-F238E27FC236}">
                    <a16:creationId xmlns:a16="http://schemas.microsoft.com/office/drawing/2014/main" id="{8D0B9056-9C92-489B-87A3-B158A5CCF558}"/>
                  </a:ext>
                </a:extLst>
              </p:cNvPr>
              <p:cNvSpPr/>
              <p:nvPr/>
            </p:nvSpPr>
            <p:spPr>
              <a:xfrm>
                <a:off x="5466167"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119 w 153814"/>
                  <a:gd name="connsiteY5" fmla="*/ 35455 h 166229"/>
                  <a:gd name="connsiteX6" fmla="*/ 40926 w 153814"/>
                  <a:gd name="connsiteY6" fmla="*/ 80485 h 166229"/>
                  <a:gd name="connsiteX7" fmla="*/ 78591 w 153814"/>
                  <a:gd name="connsiteY7" fmla="*/ 130879 h 166229"/>
                  <a:gd name="connsiteX8" fmla="*/ 112784 w 153814"/>
                  <a:gd name="connsiteY8" fmla="*/ 86061 h 166229"/>
                  <a:gd name="connsiteX9" fmla="*/ 75119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119" y="35455"/>
                    </a:moveTo>
                    <a:cubicBezTo>
                      <a:pt x="52394" y="35455"/>
                      <a:pt x="40926" y="54288"/>
                      <a:pt x="40926" y="80485"/>
                    </a:cubicBezTo>
                    <a:cubicBezTo>
                      <a:pt x="40926" y="112047"/>
                      <a:pt x="52394" y="130879"/>
                      <a:pt x="78591" y="130879"/>
                    </a:cubicBezTo>
                    <a:cubicBezTo>
                      <a:pt x="101527" y="130879"/>
                      <a:pt x="112784" y="112047"/>
                      <a:pt x="112784" y="86061"/>
                    </a:cubicBezTo>
                    <a:cubicBezTo>
                      <a:pt x="112784" y="54288"/>
                      <a:pt x="101000" y="35350"/>
                      <a:pt x="75119" y="35350"/>
                    </a:cubicBezTo>
                    <a:close/>
                  </a:path>
                </a:pathLst>
              </a:custGeom>
              <a:solidFill>
                <a:srgbClr val="004C7D"/>
              </a:solidFill>
              <a:ln w="10508" cap="flat">
                <a:noFill/>
                <a:prstDash val="solid"/>
                <a:miter/>
              </a:ln>
            </p:spPr>
            <p:txBody>
              <a:bodyPr rtlCol="0" anchor="ctr"/>
              <a:lstStyle/>
              <a:p>
                <a:endParaRPr lang="nl-NL"/>
              </a:p>
            </p:txBody>
          </p:sp>
          <p:sp>
            <p:nvSpPr>
              <p:cNvPr id="44" name="Freeform: Shape 43">
                <a:extLst>
                  <a:ext uri="{FF2B5EF4-FFF2-40B4-BE49-F238E27FC236}">
                    <a16:creationId xmlns:a16="http://schemas.microsoft.com/office/drawing/2014/main" id="{FD5A4730-387D-4D23-AC57-16BB70A91A37}"/>
                  </a:ext>
                </a:extLst>
              </p:cNvPr>
              <p:cNvSpPr/>
              <p:nvPr/>
            </p:nvSpPr>
            <p:spPr>
              <a:xfrm>
                <a:off x="5641339" y="2053982"/>
                <a:ext cx="122041" cy="166124"/>
              </a:xfrm>
              <a:custGeom>
                <a:avLst/>
                <a:gdLst>
                  <a:gd name="connsiteX0" fmla="*/ 55655 w 122041"/>
                  <a:gd name="connsiteY0" fmla="*/ 166124 h 166124"/>
                  <a:gd name="connsiteX1" fmla="*/ 4734 w 122041"/>
                  <a:gd name="connsiteY1" fmla="*/ 134877 h 166124"/>
                  <a:gd name="connsiteX2" fmla="*/ 4734 w 122041"/>
                  <a:gd name="connsiteY2" fmla="*/ 116887 h 166124"/>
                  <a:gd name="connsiteX3" fmla="*/ 6207 w 122041"/>
                  <a:gd name="connsiteY3" fmla="*/ 116887 h 166124"/>
                  <a:gd name="connsiteX4" fmla="*/ 53972 w 122041"/>
                  <a:gd name="connsiteY4" fmla="*/ 131932 h 166124"/>
                  <a:gd name="connsiteX5" fmla="*/ 82799 w 122041"/>
                  <a:gd name="connsiteY5" fmla="*/ 114572 h 166124"/>
                  <a:gd name="connsiteX6" fmla="*/ 49763 w 122041"/>
                  <a:gd name="connsiteY6" fmla="*/ 97213 h 166124"/>
                  <a:gd name="connsiteX7" fmla="*/ 0 w 122041"/>
                  <a:gd name="connsiteY7" fmla="*/ 55129 h 166124"/>
                  <a:gd name="connsiteX8" fmla="*/ 67438 w 122041"/>
                  <a:gd name="connsiteY8" fmla="*/ 0 h 166124"/>
                  <a:gd name="connsiteX9" fmla="*/ 118149 w 122041"/>
                  <a:gd name="connsiteY9" fmla="*/ 33877 h 166124"/>
                  <a:gd name="connsiteX10" fmla="*/ 118149 w 122041"/>
                  <a:gd name="connsiteY10" fmla="*/ 48922 h 166124"/>
                  <a:gd name="connsiteX11" fmla="*/ 116676 w 122041"/>
                  <a:gd name="connsiteY11" fmla="*/ 48922 h 166124"/>
                  <a:gd name="connsiteX12" fmla="*/ 71331 w 122041"/>
                  <a:gd name="connsiteY12" fmla="*/ 34193 h 166124"/>
                  <a:gd name="connsiteX13" fmla="*/ 39558 w 122041"/>
                  <a:gd name="connsiteY13" fmla="*/ 51868 h 166124"/>
                  <a:gd name="connsiteX14" fmla="*/ 71331 w 122041"/>
                  <a:gd name="connsiteY14" fmla="*/ 67439 h 166124"/>
                  <a:gd name="connsiteX15" fmla="*/ 122042 w 122041"/>
                  <a:gd name="connsiteY15" fmla="*/ 112468 h 166124"/>
                  <a:gd name="connsiteX16" fmla="*/ 55760 w 122041"/>
                  <a:gd name="connsiteY16" fmla="*/ 166124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41" h="166124">
                    <a:moveTo>
                      <a:pt x="55655" y="166124"/>
                    </a:moveTo>
                    <a:cubicBezTo>
                      <a:pt x="26512" y="166124"/>
                      <a:pt x="4734" y="151079"/>
                      <a:pt x="4734" y="134877"/>
                    </a:cubicBezTo>
                    <a:lnTo>
                      <a:pt x="4734" y="116887"/>
                    </a:lnTo>
                    <a:lnTo>
                      <a:pt x="6207" y="116887"/>
                    </a:lnTo>
                    <a:cubicBezTo>
                      <a:pt x="14729" y="124883"/>
                      <a:pt x="35034" y="131932"/>
                      <a:pt x="53972" y="131932"/>
                    </a:cubicBezTo>
                    <a:cubicBezTo>
                      <a:pt x="72909" y="131932"/>
                      <a:pt x="82799" y="126355"/>
                      <a:pt x="82799" y="114572"/>
                    </a:cubicBezTo>
                    <a:cubicBezTo>
                      <a:pt x="82799" y="105419"/>
                      <a:pt x="77223" y="101000"/>
                      <a:pt x="49763" y="97213"/>
                    </a:cubicBezTo>
                    <a:cubicBezTo>
                      <a:pt x="16202" y="92478"/>
                      <a:pt x="0" y="79222"/>
                      <a:pt x="0" y="55129"/>
                    </a:cubicBezTo>
                    <a:cubicBezTo>
                      <a:pt x="0" y="25355"/>
                      <a:pt x="26828" y="0"/>
                      <a:pt x="67438" y="0"/>
                    </a:cubicBezTo>
                    <a:cubicBezTo>
                      <a:pt x="103420" y="0"/>
                      <a:pt x="118149" y="18517"/>
                      <a:pt x="118149" y="33877"/>
                    </a:cubicBezTo>
                    <a:lnTo>
                      <a:pt x="118149" y="48922"/>
                    </a:lnTo>
                    <a:lnTo>
                      <a:pt x="116676" y="48922"/>
                    </a:lnTo>
                    <a:cubicBezTo>
                      <a:pt x="108470" y="40716"/>
                      <a:pt x="90163" y="34193"/>
                      <a:pt x="71331" y="34193"/>
                    </a:cubicBezTo>
                    <a:cubicBezTo>
                      <a:pt x="47133" y="34193"/>
                      <a:pt x="39558" y="41557"/>
                      <a:pt x="39558" y="51868"/>
                    </a:cubicBezTo>
                    <a:cubicBezTo>
                      <a:pt x="39558" y="59864"/>
                      <a:pt x="44293" y="63020"/>
                      <a:pt x="71331" y="67439"/>
                    </a:cubicBezTo>
                    <a:cubicBezTo>
                      <a:pt x="104367" y="72699"/>
                      <a:pt x="122042" y="87218"/>
                      <a:pt x="122042" y="112468"/>
                    </a:cubicBezTo>
                    <a:cubicBezTo>
                      <a:pt x="122042" y="146029"/>
                      <a:pt x="98475" y="166124"/>
                      <a:pt x="55760" y="166124"/>
                    </a:cubicBezTo>
                    <a:close/>
                  </a:path>
                </a:pathLst>
              </a:custGeom>
              <a:solidFill>
                <a:srgbClr val="004C7D"/>
              </a:solidFill>
              <a:ln w="10508" cap="flat">
                <a:noFill/>
                <a:prstDash val="solid"/>
                <a:miter/>
              </a:ln>
            </p:spPr>
            <p:txBody>
              <a:bodyPr rtlCol="0" anchor="ctr"/>
              <a:lstStyle/>
              <a:p>
                <a:endParaRPr lang="nl-NL"/>
              </a:p>
            </p:txBody>
          </p:sp>
          <p:sp>
            <p:nvSpPr>
              <p:cNvPr id="45" name="Freeform: Shape 44">
                <a:extLst>
                  <a:ext uri="{FF2B5EF4-FFF2-40B4-BE49-F238E27FC236}">
                    <a16:creationId xmlns:a16="http://schemas.microsoft.com/office/drawing/2014/main" id="{D0ABDB75-35D6-4EDB-B6FA-B5B532BE7C5E}"/>
                  </a:ext>
                </a:extLst>
              </p:cNvPr>
              <p:cNvSpPr/>
              <p:nvPr/>
            </p:nvSpPr>
            <p:spPr>
              <a:xfrm>
                <a:off x="5791366" y="2053982"/>
                <a:ext cx="151710" cy="212626"/>
              </a:xfrm>
              <a:custGeom>
                <a:avLst/>
                <a:gdLst>
                  <a:gd name="connsiteX0" fmla="*/ 80169 w 151710"/>
                  <a:gd name="connsiteY0" fmla="*/ 166124 h 212626"/>
                  <a:gd name="connsiteX1" fmla="*/ 40084 w 151710"/>
                  <a:gd name="connsiteY1" fmla="*/ 142558 h 212626"/>
                  <a:gd name="connsiteX2" fmla="*/ 40084 w 151710"/>
                  <a:gd name="connsiteY2" fmla="*/ 212626 h 212626"/>
                  <a:gd name="connsiteX3" fmla="*/ 27670 w 151710"/>
                  <a:gd name="connsiteY3" fmla="*/ 212626 h 212626"/>
                  <a:gd name="connsiteX4" fmla="*/ 0 w 151710"/>
                  <a:gd name="connsiteY4" fmla="*/ 185272 h 212626"/>
                  <a:gd name="connsiteX5" fmla="*/ 0 w 151710"/>
                  <a:gd name="connsiteY5" fmla="*/ 89217 h 212626"/>
                  <a:gd name="connsiteX6" fmla="*/ 79538 w 151710"/>
                  <a:gd name="connsiteY6" fmla="*/ 0 h 212626"/>
                  <a:gd name="connsiteX7" fmla="*/ 151711 w 151710"/>
                  <a:gd name="connsiteY7" fmla="*/ 78380 h 212626"/>
                  <a:gd name="connsiteX8" fmla="*/ 80169 w 151710"/>
                  <a:gd name="connsiteY8" fmla="*/ 166124 h 212626"/>
                  <a:gd name="connsiteX9" fmla="*/ 73436 w 151710"/>
                  <a:gd name="connsiteY9" fmla="*/ 35034 h 212626"/>
                  <a:gd name="connsiteX10" fmla="*/ 39559 w 151710"/>
                  <a:gd name="connsiteY10" fmla="*/ 81326 h 212626"/>
                  <a:gd name="connsiteX11" fmla="*/ 78696 w 151710"/>
                  <a:gd name="connsiteY11" fmla="*/ 131090 h 212626"/>
                  <a:gd name="connsiteX12" fmla="*/ 111100 w 151710"/>
                  <a:gd name="connsiteY12" fmla="*/ 88691 h 212626"/>
                  <a:gd name="connsiteX13" fmla="*/ 73436 w 151710"/>
                  <a:gd name="connsiteY13" fmla="*/ 35034 h 21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710" h="212626">
                    <a:moveTo>
                      <a:pt x="80169" y="166124"/>
                    </a:moveTo>
                    <a:cubicBezTo>
                      <a:pt x="62494" y="166124"/>
                      <a:pt x="48080" y="156130"/>
                      <a:pt x="40084" y="142558"/>
                    </a:cubicBezTo>
                    <a:lnTo>
                      <a:pt x="40084" y="212626"/>
                    </a:lnTo>
                    <a:lnTo>
                      <a:pt x="27670" y="212626"/>
                    </a:lnTo>
                    <a:cubicBezTo>
                      <a:pt x="13572" y="212626"/>
                      <a:pt x="0" y="202316"/>
                      <a:pt x="0" y="185272"/>
                    </a:cubicBezTo>
                    <a:lnTo>
                      <a:pt x="0" y="89217"/>
                    </a:lnTo>
                    <a:cubicBezTo>
                      <a:pt x="0" y="36507"/>
                      <a:pt x="23567" y="0"/>
                      <a:pt x="79538" y="0"/>
                    </a:cubicBezTo>
                    <a:cubicBezTo>
                      <a:pt x="121621" y="0"/>
                      <a:pt x="151711" y="38296"/>
                      <a:pt x="151711" y="78380"/>
                    </a:cubicBezTo>
                    <a:cubicBezTo>
                      <a:pt x="151711" y="129301"/>
                      <a:pt x="126356" y="166124"/>
                      <a:pt x="80169" y="166124"/>
                    </a:cubicBezTo>
                    <a:close/>
                    <a:moveTo>
                      <a:pt x="73436" y="35034"/>
                    </a:moveTo>
                    <a:cubicBezTo>
                      <a:pt x="51657" y="35034"/>
                      <a:pt x="39559" y="53867"/>
                      <a:pt x="39559" y="81326"/>
                    </a:cubicBezTo>
                    <a:cubicBezTo>
                      <a:pt x="39559" y="113099"/>
                      <a:pt x="55129" y="131090"/>
                      <a:pt x="78696" y="131090"/>
                    </a:cubicBezTo>
                    <a:cubicBezTo>
                      <a:pt x="97844" y="131090"/>
                      <a:pt x="111100" y="114046"/>
                      <a:pt x="111100" y="88691"/>
                    </a:cubicBezTo>
                    <a:cubicBezTo>
                      <a:pt x="111100" y="51237"/>
                      <a:pt x="98686" y="35034"/>
                      <a:pt x="73436" y="35034"/>
                    </a:cubicBezTo>
                    <a:close/>
                  </a:path>
                </a:pathLst>
              </a:custGeom>
              <a:solidFill>
                <a:srgbClr val="004C7D"/>
              </a:solidFill>
              <a:ln w="10508" cap="flat">
                <a:noFill/>
                <a:prstDash val="solid"/>
                <a:miter/>
              </a:ln>
            </p:spPr>
            <p:txBody>
              <a:bodyPr rtlCol="0" anchor="ctr"/>
              <a:lstStyle/>
              <a:p>
                <a:endParaRPr lang="nl-NL"/>
              </a:p>
            </p:txBody>
          </p:sp>
          <p:sp>
            <p:nvSpPr>
              <p:cNvPr id="46" name="Freeform: Shape 45">
                <a:extLst>
                  <a:ext uri="{FF2B5EF4-FFF2-40B4-BE49-F238E27FC236}">
                    <a16:creationId xmlns:a16="http://schemas.microsoft.com/office/drawing/2014/main" id="{E9A0CF68-955C-49E6-AD76-374C8A3491CB}"/>
                  </a:ext>
                </a:extLst>
              </p:cNvPr>
              <p:cNvSpPr/>
              <p:nvPr/>
            </p:nvSpPr>
            <p:spPr>
              <a:xfrm>
                <a:off x="5964119"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47" name="Freeform: Shape 46">
                <a:extLst>
                  <a:ext uri="{FF2B5EF4-FFF2-40B4-BE49-F238E27FC236}">
                    <a16:creationId xmlns:a16="http://schemas.microsoft.com/office/drawing/2014/main" id="{1EF68FD1-AD95-426A-8AC3-82A4C564E8C3}"/>
                  </a:ext>
                </a:extLst>
              </p:cNvPr>
              <p:cNvSpPr/>
              <p:nvPr/>
            </p:nvSpPr>
            <p:spPr>
              <a:xfrm>
                <a:off x="6119407" y="2055981"/>
                <a:ext cx="129091" cy="163494"/>
              </a:xfrm>
              <a:custGeom>
                <a:avLst/>
                <a:gdLst>
                  <a:gd name="connsiteX0" fmla="*/ 127618 w 129091"/>
                  <a:gd name="connsiteY0" fmla="*/ 52710 h 163494"/>
                  <a:gd name="connsiteX1" fmla="*/ 84588 w 129091"/>
                  <a:gd name="connsiteY1" fmla="*/ 36192 h 163494"/>
                  <a:gd name="connsiteX2" fmla="*/ 41242 w 129091"/>
                  <a:gd name="connsiteY2" fmla="*/ 78275 h 163494"/>
                  <a:gd name="connsiteX3" fmla="*/ 85114 w 129091"/>
                  <a:gd name="connsiteY3" fmla="*/ 126881 h 163494"/>
                  <a:gd name="connsiteX4" fmla="*/ 126987 w 129091"/>
                  <a:gd name="connsiteY4" fmla="*/ 112152 h 163494"/>
                  <a:gd name="connsiteX5" fmla="*/ 128460 w 129091"/>
                  <a:gd name="connsiteY5" fmla="*/ 112152 h 163494"/>
                  <a:gd name="connsiteX6" fmla="*/ 128460 w 129091"/>
                  <a:gd name="connsiteY6" fmla="*/ 130459 h 163494"/>
                  <a:gd name="connsiteX7" fmla="*/ 81326 w 129091"/>
                  <a:gd name="connsiteY7" fmla="*/ 163494 h 163494"/>
                  <a:gd name="connsiteX8" fmla="*/ 0 w 129091"/>
                  <a:gd name="connsiteY8" fmla="*/ 84272 h 163494"/>
                  <a:gd name="connsiteX9" fmla="*/ 85745 w 129091"/>
                  <a:gd name="connsiteY9" fmla="*/ 0 h 163494"/>
                  <a:gd name="connsiteX10" fmla="*/ 129091 w 129091"/>
                  <a:gd name="connsiteY10" fmla="*/ 34193 h 163494"/>
                  <a:gd name="connsiteX11" fmla="*/ 129091 w 129091"/>
                  <a:gd name="connsiteY11" fmla="*/ 52710 h 163494"/>
                  <a:gd name="connsiteX12" fmla="*/ 127618 w 129091"/>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1" h="163494">
                    <a:moveTo>
                      <a:pt x="127618" y="52710"/>
                    </a:moveTo>
                    <a:cubicBezTo>
                      <a:pt x="122358" y="43556"/>
                      <a:pt x="107313" y="36192"/>
                      <a:pt x="84588" y="36192"/>
                    </a:cubicBezTo>
                    <a:cubicBezTo>
                      <a:pt x="61863" y="36192"/>
                      <a:pt x="41242" y="54708"/>
                      <a:pt x="41242" y="78275"/>
                    </a:cubicBezTo>
                    <a:cubicBezTo>
                      <a:pt x="41242" y="107102"/>
                      <a:pt x="58286" y="126881"/>
                      <a:pt x="85114" y="126881"/>
                    </a:cubicBezTo>
                    <a:cubicBezTo>
                      <a:pt x="107839" y="126881"/>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1"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48" name="Freeform: Shape 47">
                <a:extLst>
                  <a:ext uri="{FF2B5EF4-FFF2-40B4-BE49-F238E27FC236}">
                    <a16:creationId xmlns:a16="http://schemas.microsoft.com/office/drawing/2014/main" id="{AEDC27F2-1F04-4A5A-A4FE-BBC141DAE8B5}"/>
                  </a:ext>
                </a:extLst>
              </p:cNvPr>
              <p:cNvSpPr/>
              <p:nvPr/>
            </p:nvSpPr>
            <p:spPr>
              <a:xfrm>
                <a:off x="6268803"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grpSp>
        <p:sp>
          <p:nvSpPr>
            <p:cNvPr id="13" name="Freeform: Shape 12">
              <a:extLst>
                <a:ext uri="{FF2B5EF4-FFF2-40B4-BE49-F238E27FC236}">
                  <a16:creationId xmlns:a16="http://schemas.microsoft.com/office/drawing/2014/main" id="{481BEC4B-D8A7-46EE-BBCA-70472C2AEF68}"/>
                </a:ext>
              </a:extLst>
            </p:cNvPr>
            <p:cNvSpPr/>
            <p:nvPr/>
          </p:nvSpPr>
          <p:spPr>
            <a:xfrm>
              <a:off x="4489937" y="1302687"/>
              <a:ext cx="31562" cy="1012211"/>
            </a:xfrm>
            <a:custGeom>
              <a:avLst/>
              <a:gdLst>
                <a:gd name="connsiteX0" fmla="*/ 15781 w 31562"/>
                <a:gd name="connsiteY0" fmla="*/ 1012211 h 1012211"/>
                <a:gd name="connsiteX1" fmla="*/ 0 w 31562"/>
                <a:gd name="connsiteY1" fmla="*/ 996430 h 1012211"/>
                <a:gd name="connsiteX2" fmla="*/ 0 w 31562"/>
                <a:gd name="connsiteY2" fmla="*/ 15781 h 1012211"/>
                <a:gd name="connsiteX3" fmla="*/ 15781 w 31562"/>
                <a:gd name="connsiteY3" fmla="*/ 0 h 1012211"/>
                <a:gd name="connsiteX4" fmla="*/ 31563 w 31562"/>
                <a:gd name="connsiteY4" fmla="*/ 15781 h 1012211"/>
                <a:gd name="connsiteX5" fmla="*/ 31563 w 31562"/>
                <a:gd name="connsiteY5" fmla="*/ 996325 h 1012211"/>
                <a:gd name="connsiteX6" fmla="*/ 15781 w 31562"/>
                <a:gd name="connsiteY6" fmla="*/ 1012106 h 101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62" h="1012211">
                  <a:moveTo>
                    <a:pt x="15781" y="1012211"/>
                  </a:moveTo>
                  <a:cubicBezTo>
                    <a:pt x="7049" y="1012211"/>
                    <a:pt x="0" y="1005162"/>
                    <a:pt x="0" y="996430"/>
                  </a:cubicBezTo>
                  <a:lnTo>
                    <a:pt x="0" y="15781"/>
                  </a:lnTo>
                  <a:cubicBezTo>
                    <a:pt x="0" y="7049"/>
                    <a:pt x="7049" y="0"/>
                    <a:pt x="15781" y="0"/>
                  </a:cubicBezTo>
                  <a:cubicBezTo>
                    <a:pt x="24514" y="0"/>
                    <a:pt x="31563" y="7049"/>
                    <a:pt x="31563" y="15781"/>
                  </a:cubicBezTo>
                  <a:lnTo>
                    <a:pt x="31563" y="996325"/>
                  </a:lnTo>
                  <a:cubicBezTo>
                    <a:pt x="31563" y="1005057"/>
                    <a:pt x="24514" y="1012106"/>
                    <a:pt x="15781" y="1012106"/>
                  </a:cubicBezTo>
                  <a:close/>
                </a:path>
              </a:pathLst>
            </a:custGeom>
            <a:solidFill>
              <a:srgbClr val="004C7D"/>
            </a:solidFill>
            <a:ln w="10508" cap="flat">
              <a:noFill/>
              <a:prstDash val="solid"/>
              <a:miter/>
            </a:ln>
          </p:spPr>
          <p:txBody>
            <a:bodyPr rtlCol="0" anchor="ctr"/>
            <a:lstStyle/>
            <a:p>
              <a:endParaRPr lang="nl-NL"/>
            </a:p>
          </p:txBody>
        </p:sp>
      </p:grpSp>
    </p:spTree>
    <p:extLst>
      <p:ext uri="{BB962C8B-B14F-4D97-AF65-F5344CB8AC3E}">
        <p14:creationId xmlns:p14="http://schemas.microsoft.com/office/powerpoint/2010/main" val="1718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1038" y="2132295"/>
            <a:ext cx="7777162" cy="523220"/>
          </a:xfrm>
          <a:prstGeom prst="rect">
            <a:avLst/>
          </a:prstGeom>
        </p:spPr>
        <p:txBody>
          <a:bodyPr wrap="square" anchor="t">
            <a:spAutoFit/>
          </a:bodyPr>
          <a:lstStyle>
            <a:lvl1pPr algn="ctr">
              <a:defRPr sz="2800" b="0" cap="none" baseline="0"/>
            </a:lvl1pPr>
          </a:lstStyle>
          <a:p>
            <a:r>
              <a:rPr lang="en-US" noProof="0"/>
              <a:t>Click to edit Master title style</a:t>
            </a:r>
            <a:endParaRPr lang="en-GB" noProof="0" dirty="0"/>
          </a:p>
        </p:txBody>
      </p:sp>
      <p:sp>
        <p:nvSpPr>
          <p:cNvPr id="3" name="Text Placeholder 2"/>
          <p:cNvSpPr>
            <a:spLocks noGrp="1"/>
          </p:cNvSpPr>
          <p:nvPr>
            <p:ph type="body" idx="1"/>
          </p:nvPr>
        </p:nvSpPr>
        <p:spPr>
          <a:xfrm>
            <a:off x="681038" y="2604960"/>
            <a:ext cx="7772400" cy="700214"/>
          </a:xfrm>
          <a:prstGeom prst="rect">
            <a:avLst/>
          </a:prstGeom>
        </p:spPr>
        <p:txBody>
          <a:bodyPr anchor="t" anchorCtr="0"/>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20" name="Footer Placeholder 19"/>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21" name="Slide Number Placeholder 20"/>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cxnSp>
        <p:nvCxnSpPr>
          <p:cNvPr id="16" name="Straight Connector 15"/>
          <p:cNvCxnSpPr/>
          <p:nvPr userDrawn="1"/>
        </p:nvCxnSpPr>
        <p:spPr>
          <a:xfrm>
            <a:off x="8450017" y="4911786"/>
            <a:ext cx="0" cy="231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Picture 2">
            <a:extLst>
              <a:ext uri="{FF2B5EF4-FFF2-40B4-BE49-F238E27FC236}">
                <a16:creationId xmlns:a16="http://schemas.microsoft.com/office/drawing/2014/main" id="{A52FEFF5-80E4-4BDA-B1FF-049D21FBFCBC}"/>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6528" y="128267"/>
            <a:ext cx="473383" cy="61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8515869"/>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solidFill>
          <a:schemeClr val="accent3"/>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7" name="Content Placeholder 2">
            <a:extLst>
              <a:ext uri="{FF2B5EF4-FFF2-40B4-BE49-F238E27FC236}">
                <a16:creationId xmlns:a16="http://schemas.microsoft.com/office/drawing/2014/main" id="{76AD6758-D1C4-4F09-B9BF-03E668CE90B4}"/>
              </a:ext>
            </a:extLst>
          </p:cNvPr>
          <p:cNvSpPr>
            <a:spLocks noGrp="1"/>
          </p:cNvSpPr>
          <p:nvPr>
            <p:ph idx="1"/>
          </p:nvPr>
        </p:nvSpPr>
        <p:spPr>
          <a:xfrm>
            <a:off x="792163" y="1030411"/>
            <a:ext cx="7773988" cy="325446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itle Placeholder 1">
            <a:extLst>
              <a:ext uri="{FF2B5EF4-FFF2-40B4-BE49-F238E27FC236}">
                <a16:creationId xmlns:a16="http://schemas.microsoft.com/office/drawing/2014/main" id="{286CF4CC-43F9-46F9-A262-6DA080C13A0C}"/>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661876874"/>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dark blue">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81038" y="2132295"/>
            <a:ext cx="7777162" cy="523220"/>
          </a:xfrm>
          <a:prstGeom prst="rect">
            <a:avLst/>
          </a:prstGeom>
        </p:spPr>
        <p:txBody>
          <a:bodyPr wrap="square" anchor="t">
            <a:spAutoFit/>
          </a:bodyPr>
          <a:lstStyle>
            <a:lvl1pPr algn="ctr">
              <a:defRPr sz="2800" b="0" cap="none" baseline="0">
                <a:solidFill>
                  <a:schemeClr val="bg1"/>
                </a:solidFill>
              </a:defRPr>
            </a:lvl1pPr>
          </a:lstStyle>
          <a:p>
            <a:r>
              <a:rPr lang="en-US" noProof="0"/>
              <a:t>Click to edit Master title style</a:t>
            </a:r>
            <a:endParaRPr lang="en-GB" noProof="0" dirty="0"/>
          </a:p>
        </p:txBody>
      </p:sp>
      <p:sp>
        <p:nvSpPr>
          <p:cNvPr id="3" name="Text Placeholder 2"/>
          <p:cNvSpPr>
            <a:spLocks noGrp="1"/>
          </p:cNvSpPr>
          <p:nvPr>
            <p:ph type="body" idx="1"/>
          </p:nvPr>
        </p:nvSpPr>
        <p:spPr bwMode="gray">
          <a:xfrm>
            <a:off x="681038" y="2604960"/>
            <a:ext cx="7772400" cy="700214"/>
          </a:xfrm>
          <a:prstGeom prst="rect">
            <a:avLst/>
          </a:prstGeom>
        </p:spPr>
        <p:txBody>
          <a:bodyPr anchor="t" anchorCtr="0"/>
          <a:lstStyle>
            <a:lvl1pPr marL="0" indent="0" algn="ctr">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20" name="Footer Placeholder 19"/>
          <p:cNvSpPr>
            <a:spLocks noGrp="1"/>
          </p:cNvSpPr>
          <p:nvPr>
            <p:ph type="ftr" sz="quarter" idx="11"/>
          </p:nvPr>
        </p:nvSpPr>
        <p:spPr bwMode="gray"/>
        <p:txBody>
          <a:bodyPr/>
          <a:lstStyle>
            <a:lvl1pPr>
              <a:defRPr>
                <a:solidFill>
                  <a:schemeClr val="bg1"/>
                </a:solidFill>
              </a:defRPr>
            </a:lvl1pPr>
          </a:lstStyle>
          <a:p>
            <a:r>
              <a:rPr lang="nl-NL" noProof="0"/>
              <a:t>Onregelmatig Werk en Gezondheid: "Lessen" uit de Luchtvaartsector</a:t>
            </a:r>
            <a:endParaRPr lang="en-GB" noProof="0" dirty="0"/>
          </a:p>
        </p:txBody>
      </p:sp>
      <p:sp>
        <p:nvSpPr>
          <p:cNvPr id="21" name="Slide Number Placeholder 20"/>
          <p:cNvSpPr>
            <a:spLocks noGrp="1"/>
          </p:cNvSpPr>
          <p:nvPr>
            <p:ph type="sldNum" sz="quarter" idx="12"/>
          </p:nvPr>
        </p:nvSpPr>
        <p:spPr bwMode="gray"/>
        <p:txBody>
          <a:bodyPr/>
          <a:lstStyle>
            <a:lvl1pPr>
              <a:defRPr>
                <a:solidFill>
                  <a:schemeClr val="bg1"/>
                </a:solidFill>
              </a:defRPr>
            </a:lvl1pPr>
          </a:lstStyle>
          <a:p>
            <a:fld id="{015EBE98-414E-493A-9124-68D86CEA4F8A}" type="slidenum">
              <a:rPr lang="nl-NL" smtClean="0"/>
              <a:pPr/>
              <a:t>‹#›</a:t>
            </a:fld>
            <a:endParaRPr lang="nl-NL" dirty="0"/>
          </a:p>
        </p:txBody>
      </p:sp>
      <p:cxnSp>
        <p:nvCxnSpPr>
          <p:cNvPr id="16" name="Straight Connector 15"/>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6AD5FA24-EE14-4E97-97AE-822061501839}"/>
              </a:ext>
            </a:extLst>
          </p:cNvPr>
          <p:cNvGrpSpPr>
            <a:grpSpLocks noChangeAspect="1"/>
          </p:cNvGrpSpPr>
          <p:nvPr userDrawn="1"/>
        </p:nvGrpSpPr>
        <p:grpSpPr bwMode="auto">
          <a:xfrm>
            <a:off x="146050" y="128588"/>
            <a:ext cx="473075" cy="609600"/>
            <a:chOff x="92" y="81"/>
            <a:chExt cx="298" cy="384"/>
          </a:xfrm>
        </p:grpSpPr>
        <p:sp>
          <p:nvSpPr>
            <p:cNvPr id="9" name="AutoShape 3">
              <a:extLst>
                <a:ext uri="{FF2B5EF4-FFF2-40B4-BE49-F238E27FC236}">
                  <a16:creationId xmlns:a16="http://schemas.microsoft.com/office/drawing/2014/main" id="{3DBFD5BC-228F-4E57-BB5B-EC9243DC0484}"/>
                </a:ext>
              </a:extLst>
            </p:cNvPr>
            <p:cNvSpPr>
              <a:spLocks noChangeAspect="1" noChangeArrowheads="1" noTextEdit="1"/>
            </p:cNvSpPr>
            <p:nvPr userDrawn="1"/>
          </p:nvSpPr>
          <p:spPr bwMode="auto">
            <a:xfrm>
              <a:off x="92" y="81"/>
              <a:ext cx="298"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a:extLst>
                <a:ext uri="{FF2B5EF4-FFF2-40B4-BE49-F238E27FC236}">
                  <a16:creationId xmlns:a16="http://schemas.microsoft.com/office/drawing/2014/main" id="{471C5CF8-4CA1-4909-A4A7-16313288804C}"/>
                </a:ext>
              </a:extLst>
            </p:cNvPr>
            <p:cNvSpPr>
              <a:spLocks/>
            </p:cNvSpPr>
            <p:nvPr userDrawn="1"/>
          </p:nvSpPr>
          <p:spPr bwMode="auto">
            <a:xfrm>
              <a:off x="273" y="78"/>
              <a:ext cx="82" cy="64"/>
            </a:xfrm>
            <a:custGeom>
              <a:avLst/>
              <a:gdLst>
                <a:gd name="T0" fmla="*/ 4 w 51"/>
                <a:gd name="T1" fmla="*/ 20 h 40"/>
                <a:gd name="T2" fmla="*/ 11 w 51"/>
                <a:gd name="T3" fmla="*/ 26 h 40"/>
                <a:gd name="T4" fmla="*/ 12 w 51"/>
                <a:gd name="T5" fmla="*/ 35 h 40"/>
                <a:gd name="T6" fmla="*/ 14 w 51"/>
                <a:gd name="T7" fmla="*/ 40 h 40"/>
                <a:gd name="T8" fmla="*/ 15 w 51"/>
                <a:gd name="T9" fmla="*/ 40 h 40"/>
                <a:gd name="T10" fmla="*/ 23 w 51"/>
                <a:gd name="T11" fmla="*/ 25 h 40"/>
                <a:gd name="T12" fmla="*/ 46 w 51"/>
                <a:gd name="T13" fmla="*/ 8 h 40"/>
                <a:gd name="T14" fmla="*/ 50 w 51"/>
                <a:gd name="T15" fmla="*/ 2 h 40"/>
                <a:gd name="T16" fmla="*/ 42 w 51"/>
                <a:gd name="T17" fmla="*/ 3 h 40"/>
                <a:gd name="T18" fmla="*/ 16 w 51"/>
                <a:gd name="T19" fmla="*/ 16 h 40"/>
                <a:gd name="T20" fmla="*/ 1 w 51"/>
                <a:gd name="T21" fmla="*/ 17 h 40"/>
                <a:gd name="T22" fmla="*/ 1 w 51"/>
                <a:gd name="T23" fmla="*/ 18 h 40"/>
                <a:gd name="T24" fmla="*/ 3 w 51"/>
                <a:gd name="T25" fmla="*/ 22 h 40"/>
                <a:gd name="T26" fmla="*/ 4 w 51"/>
                <a:gd name="T2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0">
                  <a:moveTo>
                    <a:pt x="4" y="20"/>
                  </a:moveTo>
                  <a:cubicBezTo>
                    <a:pt x="6" y="19"/>
                    <a:pt x="9" y="22"/>
                    <a:pt x="11" y="26"/>
                  </a:cubicBezTo>
                  <a:cubicBezTo>
                    <a:pt x="13" y="30"/>
                    <a:pt x="13" y="34"/>
                    <a:pt x="12" y="35"/>
                  </a:cubicBezTo>
                  <a:cubicBezTo>
                    <a:pt x="12" y="35"/>
                    <a:pt x="14" y="39"/>
                    <a:pt x="14" y="40"/>
                  </a:cubicBezTo>
                  <a:cubicBezTo>
                    <a:pt x="15" y="40"/>
                    <a:pt x="15" y="40"/>
                    <a:pt x="15" y="40"/>
                  </a:cubicBezTo>
                  <a:cubicBezTo>
                    <a:pt x="15" y="39"/>
                    <a:pt x="23" y="25"/>
                    <a:pt x="23" y="25"/>
                  </a:cubicBezTo>
                  <a:cubicBezTo>
                    <a:pt x="23" y="25"/>
                    <a:pt x="45" y="10"/>
                    <a:pt x="46" y="8"/>
                  </a:cubicBezTo>
                  <a:cubicBezTo>
                    <a:pt x="48" y="7"/>
                    <a:pt x="51" y="3"/>
                    <a:pt x="50" y="2"/>
                  </a:cubicBezTo>
                  <a:cubicBezTo>
                    <a:pt x="49" y="0"/>
                    <a:pt x="42" y="3"/>
                    <a:pt x="42" y="3"/>
                  </a:cubicBezTo>
                  <a:cubicBezTo>
                    <a:pt x="16" y="16"/>
                    <a:pt x="16" y="16"/>
                    <a:pt x="16" y="16"/>
                  </a:cubicBezTo>
                  <a:cubicBezTo>
                    <a:pt x="16" y="16"/>
                    <a:pt x="2" y="17"/>
                    <a:pt x="1" y="17"/>
                  </a:cubicBezTo>
                  <a:cubicBezTo>
                    <a:pt x="0" y="17"/>
                    <a:pt x="1" y="18"/>
                    <a:pt x="1" y="18"/>
                  </a:cubicBezTo>
                  <a:cubicBezTo>
                    <a:pt x="3" y="22"/>
                    <a:pt x="3" y="22"/>
                    <a:pt x="3" y="22"/>
                  </a:cubicBezTo>
                  <a:cubicBezTo>
                    <a:pt x="3" y="21"/>
                    <a:pt x="4" y="20"/>
                    <a:pt x="4"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00734FCC-A29E-4A09-A652-1CD27FFAA516}"/>
                </a:ext>
              </a:extLst>
            </p:cNvPr>
            <p:cNvSpPr>
              <a:spLocks/>
            </p:cNvSpPr>
            <p:nvPr userDrawn="1"/>
          </p:nvSpPr>
          <p:spPr bwMode="auto">
            <a:xfrm>
              <a:off x="275" y="116"/>
              <a:ext cx="11" cy="19"/>
            </a:xfrm>
            <a:custGeom>
              <a:avLst/>
              <a:gdLst>
                <a:gd name="T0" fmla="*/ 5 w 7"/>
                <a:gd name="T1" fmla="*/ 5 h 12"/>
                <a:gd name="T2" fmla="*/ 1 w 7"/>
                <a:gd name="T3" fmla="*/ 1 h 12"/>
                <a:gd name="T4" fmla="*/ 1 w 7"/>
                <a:gd name="T5" fmla="*/ 8 h 12"/>
                <a:gd name="T6" fmla="*/ 5 w 7"/>
                <a:gd name="T7" fmla="*/ 12 h 12"/>
                <a:gd name="T8" fmla="*/ 5 w 7"/>
                <a:gd name="T9" fmla="*/ 5 h 12"/>
              </a:gdLst>
              <a:ahLst/>
              <a:cxnLst>
                <a:cxn ang="0">
                  <a:pos x="T0" y="T1"/>
                </a:cxn>
                <a:cxn ang="0">
                  <a:pos x="T2" y="T3"/>
                </a:cxn>
                <a:cxn ang="0">
                  <a:pos x="T4" y="T5"/>
                </a:cxn>
                <a:cxn ang="0">
                  <a:pos x="T6" y="T7"/>
                </a:cxn>
                <a:cxn ang="0">
                  <a:pos x="T8" y="T9"/>
                </a:cxn>
              </a:cxnLst>
              <a:rect l="0" t="0" r="r" b="b"/>
              <a:pathLst>
                <a:path w="7" h="12">
                  <a:moveTo>
                    <a:pt x="5" y="5"/>
                  </a:moveTo>
                  <a:cubicBezTo>
                    <a:pt x="4" y="2"/>
                    <a:pt x="2" y="0"/>
                    <a:pt x="1" y="1"/>
                  </a:cubicBezTo>
                  <a:cubicBezTo>
                    <a:pt x="0" y="2"/>
                    <a:pt x="0" y="5"/>
                    <a:pt x="1" y="8"/>
                  </a:cubicBezTo>
                  <a:cubicBezTo>
                    <a:pt x="2" y="11"/>
                    <a:pt x="4" y="12"/>
                    <a:pt x="5" y="12"/>
                  </a:cubicBezTo>
                  <a:cubicBezTo>
                    <a:pt x="7" y="11"/>
                    <a:pt x="7" y="8"/>
                    <a:pt x="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2AA91D58-7AE7-49B0-8984-2B9F8FF67B55}"/>
                </a:ext>
              </a:extLst>
            </p:cNvPr>
            <p:cNvSpPr>
              <a:spLocks/>
            </p:cNvSpPr>
            <p:nvPr userDrawn="1"/>
          </p:nvSpPr>
          <p:spPr bwMode="auto">
            <a:xfrm>
              <a:off x="122" y="391"/>
              <a:ext cx="101" cy="80"/>
            </a:xfrm>
            <a:custGeom>
              <a:avLst/>
              <a:gdLst>
                <a:gd name="T0" fmla="*/ 63 w 63"/>
                <a:gd name="T1" fmla="*/ 34 h 50"/>
                <a:gd name="T2" fmla="*/ 34 w 63"/>
                <a:gd name="T3" fmla="*/ 31 h 50"/>
                <a:gd name="T4" fmla="*/ 34 w 63"/>
                <a:gd name="T5" fmla="*/ 31 h 50"/>
                <a:gd name="T6" fmla="*/ 47 w 63"/>
                <a:gd name="T7" fmla="*/ 20 h 50"/>
                <a:gd name="T8" fmla="*/ 47 w 63"/>
                <a:gd name="T9" fmla="*/ 20 h 50"/>
                <a:gd name="T10" fmla="*/ 56 w 63"/>
                <a:gd name="T11" fmla="*/ 21 h 50"/>
                <a:gd name="T12" fmla="*/ 57 w 63"/>
                <a:gd name="T13" fmla="*/ 20 h 50"/>
                <a:gd name="T14" fmla="*/ 59 w 63"/>
                <a:gd name="T15" fmla="*/ 19 h 50"/>
                <a:gd name="T16" fmla="*/ 59 w 63"/>
                <a:gd name="T17" fmla="*/ 19 h 50"/>
                <a:gd name="T18" fmla="*/ 50 w 63"/>
                <a:gd name="T19" fmla="*/ 16 h 50"/>
                <a:gd name="T20" fmla="*/ 50 w 63"/>
                <a:gd name="T21" fmla="*/ 16 h 50"/>
                <a:gd name="T22" fmla="*/ 50 w 63"/>
                <a:gd name="T23" fmla="*/ 0 h 50"/>
                <a:gd name="T24" fmla="*/ 49 w 63"/>
                <a:gd name="T25" fmla="*/ 0 h 50"/>
                <a:gd name="T26" fmla="*/ 47 w 63"/>
                <a:gd name="T27" fmla="*/ 1 h 50"/>
                <a:gd name="T28" fmla="*/ 47 w 63"/>
                <a:gd name="T29" fmla="*/ 2 h 50"/>
                <a:gd name="T30" fmla="*/ 43 w 63"/>
                <a:gd name="T31" fmla="*/ 14 h 50"/>
                <a:gd name="T32" fmla="*/ 43 w 63"/>
                <a:gd name="T33" fmla="*/ 14 h 50"/>
                <a:gd name="T34" fmla="*/ 39 w 63"/>
                <a:gd name="T35" fmla="*/ 13 h 50"/>
                <a:gd name="T36" fmla="*/ 38 w 63"/>
                <a:gd name="T37" fmla="*/ 13 h 50"/>
                <a:gd name="T38" fmla="*/ 37 w 63"/>
                <a:gd name="T39" fmla="*/ 14 h 50"/>
                <a:gd name="T40" fmla="*/ 36 w 63"/>
                <a:gd name="T41" fmla="*/ 14 h 50"/>
                <a:gd name="T42" fmla="*/ 40 w 63"/>
                <a:gd name="T43" fmla="*/ 18 h 50"/>
                <a:gd name="T44" fmla="*/ 40 w 63"/>
                <a:gd name="T45" fmla="*/ 18 h 50"/>
                <a:gd name="T46" fmla="*/ 23 w 63"/>
                <a:gd name="T47" fmla="*/ 27 h 50"/>
                <a:gd name="T48" fmla="*/ 23 w 63"/>
                <a:gd name="T49" fmla="*/ 27 h 50"/>
                <a:gd name="T50" fmla="*/ 9 w 63"/>
                <a:gd name="T51" fmla="*/ 17 h 50"/>
                <a:gd name="T52" fmla="*/ 8 w 63"/>
                <a:gd name="T53" fmla="*/ 17 h 50"/>
                <a:gd name="T54" fmla="*/ 6 w 63"/>
                <a:gd name="T55" fmla="*/ 18 h 50"/>
                <a:gd name="T56" fmla="*/ 6 w 63"/>
                <a:gd name="T57" fmla="*/ 18 h 50"/>
                <a:gd name="T58" fmla="*/ 13 w 63"/>
                <a:gd name="T59" fmla="*/ 32 h 50"/>
                <a:gd name="T60" fmla="*/ 12 w 63"/>
                <a:gd name="T61" fmla="*/ 32 h 50"/>
                <a:gd name="T62" fmla="*/ 3 w 63"/>
                <a:gd name="T63" fmla="*/ 39 h 50"/>
                <a:gd name="T64" fmla="*/ 0 w 63"/>
                <a:gd name="T65" fmla="*/ 46 h 50"/>
                <a:gd name="T66" fmla="*/ 25 w 63"/>
                <a:gd name="T67" fmla="*/ 37 h 50"/>
                <a:gd name="T68" fmla="*/ 25 w 63"/>
                <a:gd name="T69" fmla="*/ 36 h 50"/>
                <a:gd name="T70" fmla="*/ 60 w 63"/>
                <a:gd name="T71" fmla="*/ 36 h 50"/>
                <a:gd name="T72" fmla="*/ 61 w 63"/>
                <a:gd name="T73" fmla="*/ 36 h 50"/>
                <a:gd name="T74" fmla="*/ 63 w 63"/>
                <a:gd name="T75" fmla="*/ 35 h 50"/>
                <a:gd name="T76" fmla="*/ 63 w 63"/>
                <a:gd name="T77"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50">
                  <a:moveTo>
                    <a:pt x="63" y="34"/>
                  </a:moveTo>
                  <a:cubicBezTo>
                    <a:pt x="34" y="31"/>
                    <a:pt x="34" y="31"/>
                    <a:pt x="34" y="31"/>
                  </a:cubicBezTo>
                  <a:cubicBezTo>
                    <a:pt x="34" y="31"/>
                    <a:pt x="33" y="31"/>
                    <a:pt x="34" y="31"/>
                  </a:cubicBezTo>
                  <a:cubicBezTo>
                    <a:pt x="34" y="30"/>
                    <a:pt x="47" y="20"/>
                    <a:pt x="47" y="20"/>
                  </a:cubicBezTo>
                  <a:cubicBezTo>
                    <a:pt x="47" y="20"/>
                    <a:pt x="47" y="20"/>
                    <a:pt x="47" y="20"/>
                  </a:cubicBezTo>
                  <a:cubicBezTo>
                    <a:pt x="48" y="20"/>
                    <a:pt x="54" y="21"/>
                    <a:pt x="56" y="21"/>
                  </a:cubicBezTo>
                  <a:cubicBezTo>
                    <a:pt x="56" y="21"/>
                    <a:pt x="57" y="20"/>
                    <a:pt x="57" y="20"/>
                  </a:cubicBezTo>
                  <a:cubicBezTo>
                    <a:pt x="57" y="20"/>
                    <a:pt x="58" y="20"/>
                    <a:pt x="59" y="19"/>
                  </a:cubicBezTo>
                  <a:cubicBezTo>
                    <a:pt x="59" y="19"/>
                    <a:pt x="59" y="19"/>
                    <a:pt x="59" y="19"/>
                  </a:cubicBezTo>
                  <a:cubicBezTo>
                    <a:pt x="59" y="19"/>
                    <a:pt x="51" y="17"/>
                    <a:pt x="50" y="16"/>
                  </a:cubicBezTo>
                  <a:cubicBezTo>
                    <a:pt x="50" y="16"/>
                    <a:pt x="50" y="16"/>
                    <a:pt x="50" y="16"/>
                  </a:cubicBezTo>
                  <a:cubicBezTo>
                    <a:pt x="50" y="14"/>
                    <a:pt x="50" y="1"/>
                    <a:pt x="50" y="0"/>
                  </a:cubicBezTo>
                  <a:cubicBezTo>
                    <a:pt x="50" y="0"/>
                    <a:pt x="49" y="0"/>
                    <a:pt x="49" y="0"/>
                  </a:cubicBezTo>
                  <a:cubicBezTo>
                    <a:pt x="49" y="0"/>
                    <a:pt x="48" y="1"/>
                    <a:pt x="47" y="1"/>
                  </a:cubicBezTo>
                  <a:cubicBezTo>
                    <a:pt x="47" y="1"/>
                    <a:pt x="47" y="2"/>
                    <a:pt x="47" y="2"/>
                  </a:cubicBezTo>
                  <a:cubicBezTo>
                    <a:pt x="46" y="3"/>
                    <a:pt x="43" y="13"/>
                    <a:pt x="43" y="14"/>
                  </a:cubicBezTo>
                  <a:cubicBezTo>
                    <a:pt x="43" y="14"/>
                    <a:pt x="43" y="14"/>
                    <a:pt x="43" y="14"/>
                  </a:cubicBezTo>
                  <a:cubicBezTo>
                    <a:pt x="42" y="14"/>
                    <a:pt x="40" y="13"/>
                    <a:pt x="39" y="13"/>
                  </a:cubicBezTo>
                  <a:cubicBezTo>
                    <a:pt x="39" y="13"/>
                    <a:pt x="39" y="13"/>
                    <a:pt x="38" y="13"/>
                  </a:cubicBezTo>
                  <a:cubicBezTo>
                    <a:pt x="38" y="13"/>
                    <a:pt x="37" y="13"/>
                    <a:pt x="37" y="14"/>
                  </a:cubicBezTo>
                  <a:cubicBezTo>
                    <a:pt x="36" y="14"/>
                    <a:pt x="36" y="14"/>
                    <a:pt x="36" y="14"/>
                  </a:cubicBezTo>
                  <a:cubicBezTo>
                    <a:pt x="37" y="14"/>
                    <a:pt x="40" y="18"/>
                    <a:pt x="40" y="18"/>
                  </a:cubicBezTo>
                  <a:cubicBezTo>
                    <a:pt x="40" y="18"/>
                    <a:pt x="40" y="18"/>
                    <a:pt x="40" y="18"/>
                  </a:cubicBezTo>
                  <a:cubicBezTo>
                    <a:pt x="23" y="27"/>
                    <a:pt x="23" y="27"/>
                    <a:pt x="23" y="27"/>
                  </a:cubicBezTo>
                  <a:cubicBezTo>
                    <a:pt x="23" y="27"/>
                    <a:pt x="23" y="27"/>
                    <a:pt x="23" y="27"/>
                  </a:cubicBezTo>
                  <a:cubicBezTo>
                    <a:pt x="22" y="26"/>
                    <a:pt x="10" y="18"/>
                    <a:pt x="9" y="17"/>
                  </a:cubicBezTo>
                  <a:cubicBezTo>
                    <a:pt x="9" y="17"/>
                    <a:pt x="9" y="17"/>
                    <a:pt x="8" y="17"/>
                  </a:cubicBezTo>
                  <a:cubicBezTo>
                    <a:pt x="8" y="17"/>
                    <a:pt x="7" y="17"/>
                    <a:pt x="6" y="18"/>
                  </a:cubicBezTo>
                  <a:cubicBezTo>
                    <a:pt x="6" y="18"/>
                    <a:pt x="6" y="18"/>
                    <a:pt x="6" y="18"/>
                  </a:cubicBezTo>
                  <a:cubicBezTo>
                    <a:pt x="6" y="18"/>
                    <a:pt x="13" y="32"/>
                    <a:pt x="13" y="32"/>
                  </a:cubicBezTo>
                  <a:cubicBezTo>
                    <a:pt x="13" y="32"/>
                    <a:pt x="13" y="32"/>
                    <a:pt x="12" y="32"/>
                  </a:cubicBezTo>
                  <a:cubicBezTo>
                    <a:pt x="11" y="33"/>
                    <a:pt x="3" y="36"/>
                    <a:pt x="3" y="39"/>
                  </a:cubicBezTo>
                  <a:cubicBezTo>
                    <a:pt x="2" y="40"/>
                    <a:pt x="0" y="44"/>
                    <a:pt x="0" y="46"/>
                  </a:cubicBezTo>
                  <a:cubicBezTo>
                    <a:pt x="1" y="50"/>
                    <a:pt x="22" y="38"/>
                    <a:pt x="25" y="37"/>
                  </a:cubicBezTo>
                  <a:cubicBezTo>
                    <a:pt x="25" y="36"/>
                    <a:pt x="25" y="36"/>
                    <a:pt x="25" y="36"/>
                  </a:cubicBezTo>
                  <a:cubicBezTo>
                    <a:pt x="29" y="36"/>
                    <a:pt x="58" y="36"/>
                    <a:pt x="60" y="36"/>
                  </a:cubicBezTo>
                  <a:cubicBezTo>
                    <a:pt x="61" y="36"/>
                    <a:pt x="61" y="36"/>
                    <a:pt x="61" y="36"/>
                  </a:cubicBezTo>
                  <a:cubicBezTo>
                    <a:pt x="61" y="36"/>
                    <a:pt x="62" y="35"/>
                    <a:pt x="63" y="35"/>
                  </a:cubicBezTo>
                  <a:cubicBezTo>
                    <a:pt x="63" y="34"/>
                    <a:pt x="63" y="34"/>
                    <a:pt x="63" y="3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0B666F2F-C841-4808-8635-3EE55FEFCBD9}"/>
                </a:ext>
              </a:extLst>
            </p:cNvPr>
            <p:cNvSpPr>
              <a:spLocks/>
            </p:cNvSpPr>
            <p:nvPr userDrawn="1"/>
          </p:nvSpPr>
          <p:spPr bwMode="auto">
            <a:xfrm>
              <a:off x="94" y="199"/>
              <a:ext cx="145" cy="160"/>
            </a:xfrm>
            <a:custGeom>
              <a:avLst/>
              <a:gdLst>
                <a:gd name="T0" fmla="*/ 89 w 91"/>
                <a:gd name="T1" fmla="*/ 89 h 100"/>
                <a:gd name="T2" fmla="*/ 15 w 91"/>
                <a:gd name="T3" fmla="*/ 38 h 100"/>
                <a:gd name="T4" fmla="*/ 29 w 91"/>
                <a:gd name="T5" fmla="*/ 12 h 100"/>
                <a:gd name="T6" fmla="*/ 30 w 91"/>
                <a:gd name="T7" fmla="*/ 11 h 100"/>
                <a:gd name="T8" fmla="*/ 30 w 91"/>
                <a:gd name="T9" fmla="*/ 1 h 100"/>
                <a:gd name="T10" fmla="*/ 28 w 91"/>
                <a:gd name="T11" fmla="*/ 0 h 100"/>
                <a:gd name="T12" fmla="*/ 14 w 91"/>
                <a:gd name="T13" fmla="*/ 10 h 100"/>
                <a:gd name="T14" fmla="*/ 0 w 91"/>
                <a:gd name="T15" fmla="*/ 39 h 100"/>
                <a:gd name="T16" fmla="*/ 71 w 91"/>
                <a:gd name="T17" fmla="*/ 100 h 100"/>
                <a:gd name="T18" fmla="*/ 75 w 91"/>
                <a:gd name="T19" fmla="*/ 100 h 100"/>
                <a:gd name="T20" fmla="*/ 90 w 91"/>
                <a:gd name="T21" fmla="*/ 91 h 100"/>
                <a:gd name="T22" fmla="*/ 89 w 91"/>
                <a:gd name="T23"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00">
                  <a:moveTo>
                    <a:pt x="89" y="89"/>
                  </a:moveTo>
                  <a:cubicBezTo>
                    <a:pt x="48" y="85"/>
                    <a:pt x="15" y="64"/>
                    <a:pt x="15" y="38"/>
                  </a:cubicBezTo>
                  <a:cubicBezTo>
                    <a:pt x="15" y="28"/>
                    <a:pt x="20" y="20"/>
                    <a:pt x="29" y="12"/>
                  </a:cubicBezTo>
                  <a:cubicBezTo>
                    <a:pt x="29" y="12"/>
                    <a:pt x="30" y="11"/>
                    <a:pt x="30" y="11"/>
                  </a:cubicBezTo>
                  <a:cubicBezTo>
                    <a:pt x="30" y="1"/>
                    <a:pt x="30" y="1"/>
                    <a:pt x="30" y="1"/>
                  </a:cubicBezTo>
                  <a:cubicBezTo>
                    <a:pt x="30" y="0"/>
                    <a:pt x="29" y="0"/>
                    <a:pt x="28" y="0"/>
                  </a:cubicBezTo>
                  <a:cubicBezTo>
                    <a:pt x="22" y="4"/>
                    <a:pt x="17" y="8"/>
                    <a:pt x="14" y="10"/>
                  </a:cubicBezTo>
                  <a:cubicBezTo>
                    <a:pt x="3" y="21"/>
                    <a:pt x="0" y="28"/>
                    <a:pt x="0" y="39"/>
                  </a:cubicBezTo>
                  <a:cubicBezTo>
                    <a:pt x="0" y="67"/>
                    <a:pt x="30" y="93"/>
                    <a:pt x="71" y="100"/>
                  </a:cubicBezTo>
                  <a:cubicBezTo>
                    <a:pt x="73" y="100"/>
                    <a:pt x="74" y="100"/>
                    <a:pt x="75" y="100"/>
                  </a:cubicBezTo>
                  <a:cubicBezTo>
                    <a:pt x="77" y="99"/>
                    <a:pt x="90" y="91"/>
                    <a:pt x="90" y="91"/>
                  </a:cubicBezTo>
                  <a:cubicBezTo>
                    <a:pt x="91" y="90"/>
                    <a:pt x="91" y="89"/>
                    <a:pt x="89"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2FBDA06F-127B-4EF5-B0AE-E8DD81F3E5CE}"/>
                </a:ext>
              </a:extLst>
            </p:cNvPr>
            <p:cNvSpPr>
              <a:spLocks/>
            </p:cNvSpPr>
            <p:nvPr userDrawn="1"/>
          </p:nvSpPr>
          <p:spPr bwMode="auto">
            <a:xfrm>
              <a:off x="217" y="126"/>
              <a:ext cx="50" cy="29"/>
            </a:xfrm>
            <a:custGeom>
              <a:avLst/>
              <a:gdLst>
                <a:gd name="T0" fmla="*/ 31 w 31"/>
                <a:gd name="T1" fmla="*/ 1 h 18"/>
                <a:gd name="T2" fmla="*/ 30 w 31"/>
                <a:gd name="T3" fmla="*/ 0 h 18"/>
                <a:gd name="T4" fmla="*/ 1 w 31"/>
                <a:gd name="T5" fmla="*/ 17 h 18"/>
                <a:gd name="T6" fmla="*/ 1 w 31"/>
                <a:gd name="T7" fmla="*/ 18 h 18"/>
                <a:gd name="T8" fmla="*/ 14 w 31"/>
                <a:gd name="T9" fmla="*/ 18 h 18"/>
                <a:gd name="T10" fmla="*/ 16 w 31"/>
                <a:gd name="T11" fmla="*/ 18 h 18"/>
                <a:gd name="T12" fmla="*/ 30 w 31"/>
                <a:gd name="T13" fmla="*/ 9 h 18"/>
                <a:gd name="T14" fmla="*/ 31 w 31"/>
                <a:gd name="T15" fmla="*/ 7 h 18"/>
                <a:gd name="T16" fmla="*/ 31 w 31"/>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8">
                  <a:moveTo>
                    <a:pt x="31" y="1"/>
                  </a:moveTo>
                  <a:cubicBezTo>
                    <a:pt x="31" y="1"/>
                    <a:pt x="31" y="0"/>
                    <a:pt x="30" y="0"/>
                  </a:cubicBezTo>
                  <a:cubicBezTo>
                    <a:pt x="28" y="2"/>
                    <a:pt x="16" y="9"/>
                    <a:pt x="1" y="17"/>
                  </a:cubicBezTo>
                  <a:cubicBezTo>
                    <a:pt x="0" y="17"/>
                    <a:pt x="0" y="18"/>
                    <a:pt x="1" y="18"/>
                  </a:cubicBezTo>
                  <a:cubicBezTo>
                    <a:pt x="14" y="18"/>
                    <a:pt x="14" y="18"/>
                    <a:pt x="14" y="18"/>
                  </a:cubicBezTo>
                  <a:cubicBezTo>
                    <a:pt x="15" y="18"/>
                    <a:pt x="15" y="18"/>
                    <a:pt x="16" y="18"/>
                  </a:cubicBezTo>
                  <a:cubicBezTo>
                    <a:pt x="23" y="13"/>
                    <a:pt x="28" y="10"/>
                    <a:pt x="30" y="9"/>
                  </a:cubicBezTo>
                  <a:cubicBezTo>
                    <a:pt x="31" y="8"/>
                    <a:pt x="31" y="7"/>
                    <a:pt x="31" y="7"/>
                  </a:cubicBezTo>
                  <a:cubicBezTo>
                    <a:pt x="31" y="7"/>
                    <a:pt x="31" y="1"/>
                    <a:pt x="31"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7D82CAF7-33C9-48D8-80A8-103FDD0D1B26}"/>
                </a:ext>
              </a:extLst>
            </p:cNvPr>
            <p:cNvSpPr>
              <a:spLocks/>
            </p:cNvSpPr>
            <p:nvPr userDrawn="1"/>
          </p:nvSpPr>
          <p:spPr bwMode="auto">
            <a:xfrm>
              <a:off x="172" y="140"/>
              <a:ext cx="39" cy="51"/>
            </a:xfrm>
            <a:custGeom>
              <a:avLst/>
              <a:gdLst>
                <a:gd name="T0" fmla="*/ 15 w 24"/>
                <a:gd name="T1" fmla="*/ 1 h 32"/>
                <a:gd name="T2" fmla="*/ 12 w 24"/>
                <a:gd name="T3" fmla="*/ 0 h 32"/>
                <a:gd name="T4" fmla="*/ 9 w 24"/>
                <a:gd name="T5" fmla="*/ 1 h 32"/>
                <a:gd name="T6" fmla="*/ 1 w 24"/>
                <a:gd name="T7" fmla="*/ 14 h 32"/>
                <a:gd name="T8" fmla="*/ 1 w 24"/>
                <a:gd name="T9" fmla="*/ 18 h 32"/>
                <a:gd name="T10" fmla="*/ 9 w 24"/>
                <a:gd name="T11" fmla="*/ 30 h 32"/>
                <a:gd name="T12" fmla="*/ 12 w 24"/>
                <a:gd name="T13" fmla="*/ 32 h 32"/>
                <a:gd name="T14" fmla="*/ 15 w 24"/>
                <a:gd name="T15" fmla="*/ 30 h 32"/>
                <a:gd name="T16" fmla="*/ 23 w 24"/>
                <a:gd name="T17" fmla="*/ 18 h 32"/>
                <a:gd name="T18" fmla="*/ 23 w 24"/>
                <a:gd name="T19" fmla="*/ 14 h 32"/>
                <a:gd name="T20" fmla="*/ 15 w 24"/>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5" y="1"/>
                  </a:moveTo>
                  <a:cubicBezTo>
                    <a:pt x="14" y="0"/>
                    <a:pt x="13" y="0"/>
                    <a:pt x="12" y="0"/>
                  </a:cubicBezTo>
                  <a:cubicBezTo>
                    <a:pt x="11" y="0"/>
                    <a:pt x="9" y="0"/>
                    <a:pt x="9" y="1"/>
                  </a:cubicBezTo>
                  <a:cubicBezTo>
                    <a:pt x="1" y="14"/>
                    <a:pt x="1" y="14"/>
                    <a:pt x="1" y="14"/>
                  </a:cubicBezTo>
                  <a:cubicBezTo>
                    <a:pt x="0" y="15"/>
                    <a:pt x="0" y="17"/>
                    <a:pt x="1" y="18"/>
                  </a:cubicBezTo>
                  <a:cubicBezTo>
                    <a:pt x="9" y="30"/>
                    <a:pt x="9" y="30"/>
                    <a:pt x="9" y="30"/>
                  </a:cubicBezTo>
                  <a:cubicBezTo>
                    <a:pt x="9" y="31"/>
                    <a:pt x="11" y="32"/>
                    <a:pt x="12" y="32"/>
                  </a:cubicBezTo>
                  <a:cubicBezTo>
                    <a:pt x="13" y="32"/>
                    <a:pt x="14" y="31"/>
                    <a:pt x="15" y="30"/>
                  </a:cubicBezTo>
                  <a:cubicBezTo>
                    <a:pt x="23" y="18"/>
                    <a:pt x="23" y="18"/>
                    <a:pt x="23" y="18"/>
                  </a:cubicBezTo>
                  <a:cubicBezTo>
                    <a:pt x="24" y="17"/>
                    <a:pt x="24" y="15"/>
                    <a:pt x="23" y="14"/>
                  </a:cubicBezTo>
                  <a:lnTo>
                    <a:pt x="1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BC26DED0-8779-4387-9EE7-5378B30D262D}"/>
                </a:ext>
              </a:extLst>
            </p:cNvPr>
            <p:cNvSpPr>
              <a:spLocks/>
            </p:cNvSpPr>
            <p:nvPr userDrawn="1"/>
          </p:nvSpPr>
          <p:spPr bwMode="auto">
            <a:xfrm>
              <a:off x="211" y="169"/>
              <a:ext cx="33" cy="22"/>
            </a:xfrm>
            <a:custGeom>
              <a:avLst/>
              <a:gdLst>
                <a:gd name="T0" fmla="*/ 20 w 21"/>
                <a:gd name="T1" fmla="*/ 0 h 14"/>
                <a:gd name="T2" fmla="*/ 11 w 21"/>
                <a:gd name="T3" fmla="*/ 0 h 14"/>
                <a:gd name="T4" fmla="*/ 9 w 21"/>
                <a:gd name="T5" fmla="*/ 1 h 14"/>
                <a:gd name="T6" fmla="*/ 1 w 21"/>
                <a:gd name="T7" fmla="*/ 12 h 14"/>
                <a:gd name="T8" fmla="*/ 1 w 21"/>
                <a:gd name="T9" fmla="*/ 13 h 14"/>
                <a:gd name="T10" fmla="*/ 2 w 21"/>
                <a:gd name="T11" fmla="*/ 14 h 14"/>
                <a:gd name="T12" fmla="*/ 9 w 21"/>
                <a:gd name="T13" fmla="*/ 14 h 14"/>
                <a:gd name="T14" fmla="*/ 10 w 21"/>
                <a:gd name="T15" fmla="*/ 13 h 14"/>
                <a:gd name="T16" fmla="*/ 21 w 21"/>
                <a:gd name="T17" fmla="*/ 2 h 14"/>
                <a:gd name="T18" fmla="*/ 21 w 21"/>
                <a:gd name="T19" fmla="*/ 1 h 14"/>
                <a:gd name="T20" fmla="*/ 20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0"/>
                  </a:moveTo>
                  <a:cubicBezTo>
                    <a:pt x="11" y="0"/>
                    <a:pt x="11" y="0"/>
                    <a:pt x="11" y="0"/>
                  </a:cubicBezTo>
                  <a:cubicBezTo>
                    <a:pt x="10" y="0"/>
                    <a:pt x="10" y="0"/>
                    <a:pt x="9" y="1"/>
                  </a:cubicBezTo>
                  <a:cubicBezTo>
                    <a:pt x="1" y="12"/>
                    <a:pt x="1" y="12"/>
                    <a:pt x="1" y="12"/>
                  </a:cubicBezTo>
                  <a:cubicBezTo>
                    <a:pt x="0" y="12"/>
                    <a:pt x="0" y="13"/>
                    <a:pt x="1" y="13"/>
                  </a:cubicBezTo>
                  <a:cubicBezTo>
                    <a:pt x="1" y="14"/>
                    <a:pt x="1" y="14"/>
                    <a:pt x="2" y="14"/>
                  </a:cubicBezTo>
                  <a:cubicBezTo>
                    <a:pt x="9" y="14"/>
                    <a:pt x="9" y="14"/>
                    <a:pt x="9" y="14"/>
                  </a:cubicBezTo>
                  <a:cubicBezTo>
                    <a:pt x="9" y="14"/>
                    <a:pt x="10" y="14"/>
                    <a:pt x="10" y="13"/>
                  </a:cubicBezTo>
                  <a:cubicBezTo>
                    <a:pt x="21" y="2"/>
                    <a:pt x="21" y="2"/>
                    <a:pt x="21" y="2"/>
                  </a:cubicBezTo>
                  <a:cubicBezTo>
                    <a:pt x="21" y="1"/>
                    <a:pt x="21" y="1"/>
                    <a:pt x="21" y="1"/>
                  </a:cubicBezTo>
                  <a:cubicBezTo>
                    <a:pt x="21" y="0"/>
                    <a:pt x="20" y="0"/>
                    <a:pt x="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A676A850-7757-45D6-8D1F-292519AC3C27}"/>
                </a:ext>
              </a:extLst>
            </p:cNvPr>
            <p:cNvSpPr>
              <a:spLocks/>
            </p:cNvSpPr>
            <p:nvPr userDrawn="1"/>
          </p:nvSpPr>
          <p:spPr bwMode="auto">
            <a:xfrm>
              <a:off x="137" y="169"/>
              <a:ext cx="34" cy="22"/>
            </a:xfrm>
            <a:custGeom>
              <a:avLst/>
              <a:gdLst>
                <a:gd name="T0" fmla="*/ 12 w 21"/>
                <a:gd name="T1" fmla="*/ 1 h 14"/>
                <a:gd name="T2" fmla="*/ 11 w 21"/>
                <a:gd name="T3" fmla="*/ 0 h 14"/>
                <a:gd name="T4" fmla="*/ 2 w 21"/>
                <a:gd name="T5" fmla="*/ 0 h 14"/>
                <a:gd name="T6" fmla="*/ 0 w 21"/>
                <a:gd name="T7" fmla="*/ 1 h 14"/>
                <a:gd name="T8" fmla="*/ 1 w 21"/>
                <a:gd name="T9" fmla="*/ 2 h 14"/>
                <a:gd name="T10" fmla="*/ 12 w 21"/>
                <a:gd name="T11" fmla="*/ 13 h 14"/>
                <a:gd name="T12" fmla="*/ 13 w 21"/>
                <a:gd name="T13" fmla="*/ 14 h 14"/>
                <a:gd name="T14" fmla="*/ 19 w 21"/>
                <a:gd name="T15" fmla="*/ 14 h 14"/>
                <a:gd name="T16" fmla="*/ 21 w 21"/>
                <a:gd name="T17" fmla="*/ 13 h 14"/>
                <a:gd name="T18" fmla="*/ 21 w 21"/>
                <a:gd name="T19" fmla="*/ 12 h 14"/>
                <a:gd name="T20" fmla="*/ 12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2" y="1"/>
                  </a:moveTo>
                  <a:cubicBezTo>
                    <a:pt x="12" y="0"/>
                    <a:pt x="11" y="0"/>
                    <a:pt x="11" y="0"/>
                  </a:cubicBezTo>
                  <a:cubicBezTo>
                    <a:pt x="2" y="0"/>
                    <a:pt x="2" y="0"/>
                    <a:pt x="2" y="0"/>
                  </a:cubicBezTo>
                  <a:cubicBezTo>
                    <a:pt x="1" y="0"/>
                    <a:pt x="1" y="0"/>
                    <a:pt x="0" y="1"/>
                  </a:cubicBezTo>
                  <a:cubicBezTo>
                    <a:pt x="0" y="1"/>
                    <a:pt x="0" y="1"/>
                    <a:pt x="1" y="2"/>
                  </a:cubicBezTo>
                  <a:cubicBezTo>
                    <a:pt x="12" y="13"/>
                    <a:pt x="12" y="13"/>
                    <a:pt x="12" y="13"/>
                  </a:cubicBezTo>
                  <a:cubicBezTo>
                    <a:pt x="12" y="14"/>
                    <a:pt x="12" y="14"/>
                    <a:pt x="13" y="14"/>
                  </a:cubicBezTo>
                  <a:cubicBezTo>
                    <a:pt x="19" y="14"/>
                    <a:pt x="19" y="14"/>
                    <a:pt x="19" y="14"/>
                  </a:cubicBezTo>
                  <a:cubicBezTo>
                    <a:pt x="20" y="14"/>
                    <a:pt x="21" y="14"/>
                    <a:pt x="21" y="13"/>
                  </a:cubicBezTo>
                  <a:cubicBezTo>
                    <a:pt x="21" y="13"/>
                    <a:pt x="21" y="12"/>
                    <a:pt x="21" y="12"/>
                  </a:cubicBezTo>
                  <a:lnTo>
                    <a:pt x="1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3">
              <a:extLst>
                <a:ext uri="{FF2B5EF4-FFF2-40B4-BE49-F238E27FC236}">
                  <a16:creationId xmlns:a16="http://schemas.microsoft.com/office/drawing/2014/main" id="{2C6C1C21-C0A9-4C2B-8283-E71A41BEC19D}"/>
                </a:ext>
              </a:extLst>
            </p:cNvPr>
            <p:cNvSpPr>
              <a:spLocks/>
            </p:cNvSpPr>
            <p:nvPr userDrawn="1"/>
          </p:nvSpPr>
          <p:spPr bwMode="auto">
            <a:xfrm>
              <a:off x="215" y="172"/>
              <a:ext cx="173" cy="235"/>
            </a:xfrm>
            <a:custGeom>
              <a:avLst/>
              <a:gdLst>
                <a:gd name="T0" fmla="*/ 93 w 108"/>
                <a:gd name="T1" fmla="*/ 63 h 147"/>
                <a:gd name="T2" fmla="*/ 66 w 108"/>
                <a:gd name="T3" fmla="*/ 98 h 147"/>
                <a:gd name="T4" fmla="*/ 1 w 108"/>
                <a:gd name="T5" fmla="*/ 138 h 147"/>
                <a:gd name="T6" fmla="*/ 0 w 108"/>
                <a:gd name="T7" fmla="*/ 139 h 147"/>
                <a:gd name="T8" fmla="*/ 0 w 108"/>
                <a:gd name="T9" fmla="*/ 146 h 147"/>
                <a:gd name="T10" fmla="*/ 1 w 108"/>
                <a:gd name="T11" fmla="*/ 147 h 147"/>
                <a:gd name="T12" fmla="*/ 94 w 108"/>
                <a:gd name="T13" fmla="*/ 90 h 147"/>
                <a:gd name="T14" fmla="*/ 108 w 108"/>
                <a:gd name="T15" fmla="*/ 62 h 147"/>
                <a:gd name="T16" fmla="*/ 37 w 108"/>
                <a:gd name="T17" fmla="*/ 1 h 147"/>
                <a:gd name="T18" fmla="*/ 33 w 108"/>
                <a:gd name="T19" fmla="*/ 1 h 147"/>
                <a:gd name="T20" fmla="*/ 18 w 108"/>
                <a:gd name="T21" fmla="*/ 10 h 147"/>
                <a:gd name="T22" fmla="*/ 19 w 108"/>
                <a:gd name="T23" fmla="*/ 12 h 147"/>
                <a:gd name="T24" fmla="*/ 93 w 108"/>
                <a:gd name="T25" fmla="*/ 6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7">
                  <a:moveTo>
                    <a:pt x="93" y="63"/>
                  </a:moveTo>
                  <a:cubicBezTo>
                    <a:pt x="93" y="77"/>
                    <a:pt x="83" y="87"/>
                    <a:pt x="66" y="98"/>
                  </a:cubicBezTo>
                  <a:cubicBezTo>
                    <a:pt x="51" y="108"/>
                    <a:pt x="7" y="134"/>
                    <a:pt x="1" y="138"/>
                  </a:cubicBezTo>
                  <a:cubicBezTo>
                    <a:pt x="0" y="139"/>
                    <a:pt x="0" y="139"/>
                    <a:pt x="0" y="139"/>
                  </a:cubicBezTo>
                  <a:cubicBezTo>
                    <a:pt x="0" y="139"/>
                    <a:pt x="0" y="145"/>
                    <a:pt x="0" y="146"/>
                  </a:cubicBezTo>
                  <a:cubicBezTo>
                    <a:pt x="0" y="146"/>
                    <a:pt x="0" y="147"/>
                    <a:pt x="1" y="147"/>
                  </a:cubicBezTo>
                  <a:cubicBezTo>
                    <a:pt x="7" y="142"/>
                    <a:pt x="78" y="104"/>
                    <a:pt x="94" y="90"/>
                  </a:cubicBezTo>
                  <a:cubicBezTo>
                    <a:pt x="105" y="80"/>
                    <a:pt x="108" y="72"/>
                    <a:pt x="108" y="62"/>
                  </a:cubicBezTo>
                  <a:cubicBezTo>
                    <a:pt x="108" y="34"/>
                    <a:pt x="78" y="8"/>
                    <a:pt x="37" y="1"/>
                  </a:cubicBezTo>
                  <a:cubicBezTo>
                    <a:pt x="35" y="0"/>
                    <a:pt x="34" y="1"/>
                    <a:pt x="33" y="1"/>
                  </a:cubicBezTo>
                  <a:cubicBezTo>
                    <a:pt x="31" y="2"/>
                    <a:pt x="18" y="10"/>
                    <a:pt x="18" y="10"/>
                  </a:cubicBezTo>
                  <a:cubicBezTo>
                    <a:pt x="17" y="11"/>
                    <a:pt x="17" y="12"/>
                    <a:pt x="19" y="12"/>
                  </a:cubicBezTo>
                  <a:cubicBezTo>
                    <a:pt x="60" y="15"/>
                    <a:pt x="93" y="37"/>
                    <a:pt x="93" y="6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4">
              <a:extLst>
                <a:ext uri="{FF2B5EF4-FFF2-40B4-BE49-F238E27FC236}">
                  <a16:creationId xmlns:a16="http://schemas.microsoft.com/office/drawing/2014/main" id="{83C5C352-DAE2-4137-B757-FE921A39A686}"/>
                </a:ext>
              </a:extLst>
            </p:cNvPr>
            <p:cNvSpPr>
              <a:spLocks noEditPoints="1"/>
            </p:cNvSpPr>
            <p:nvPr userDrawn="1"/>
          </p:nvSpPr>
          <p:spPr bwMode="auto">
            <a:xfrm>
              <a:off x="158" y="214"/>
              <a:ext cx="166" cy="91"/>
            </a:xfrm>
            <a:custGeom>
              <a:avLst/>
              <a:gdLst>
                <a:gd name="T0" fmla="*/ 36 w 104"/>
                <a:gd name="T1" fmla="*/ 56 h 57"/>
                <a:gd name="T2" fmla="*/ 42 w 104"/>
                <a:gd name="T3" fmla="*/ 56 h 57"/>
                <a:gd name="T4" fmla="*/ 42 w 104"/>
                <a:gd name="T5" fmla="*/ 33 h 57"/>
                <a:gd name="T6" fmla="*/ 21 w 104"/>
                <a:gd name="T7" fmla="*/ 13 h 57"/>
                <a:gd name="T8" fmla="*/ 12 w 104"/>
                <a:gd name="T9" fmla="*/ 16 h 57"/>
                <a:gd name="T10" fmla="*/ 5 w 104"/>
                <a:gd name="T11" fmla="*/ 13 h 57"/>
                <a:gd name="T12" fmla="*/ 0 w 104"/>
                <a:gd name="T13" fmla="*/ 13 h 57"/>
                <a:gd name="T14" fmla="*/ 0 w 104"/>
                <a:gd name="T15" fmla="*/ 47 h 57"/>
                <a:gd name="T16" fmla="*/ 9 w 104"/>
                <a:gd name="T17" fmla="*/ 56 h 57"/>
                <a:gd name="T18" fmla="*/ 14 w 104"/>
                <a:gd name="T19" fmla="*/ 56 h 57"/>
                <a:gd name="T20" fmla="*/ 14 w 104"/>
                <a:gd name="T21" fmla="*/ 33 h 57"/>
                <a:gd name="T22" fmla="*/ 20 w 104"/>
                <a:gd name="T23" fmla="*/ 25 h 57"/>
                <a:gd name="T24" fmla="*/ 27 w 104"/>
                <a:gd name="T25" fmla="*/ 33 h 57"/>
                <a:gd name="T26" fmla="*/ 27 w 104"/>
                <a:gd name="T27" fmla="*/ 47 h 57"/>
                <a:gd name="T28" fmla="*/ 36 w 104"/>
                <a:gd name="T29" fmla="*/ 56 h 57"/>
                <a:gd name="T30" fmla="*/ 74 w 104"/>
                <a:gd name="T31" fmla="*/ 50 h 57"/>
                <a:gd name="T32" fmla="*/ 74 w 104"/>
                <a:gd name="T33" fmla="*/ 45 h 57"/>
                <a:gd name="T34" fmla="*/ 70 w 104"/>
                <a:gd name="T35" fmla="*/ 45 h 57"/>
                <a:gd name="T36" fmla="*/ 64 w 104"/>
                <a:gd name="T37" fmla="*/ 40 h 57"/>
                <a:gd name="T38" fmla="*/ 64 w 104"/>
                <a:gd name="T39" fmla="*/ 10 h 57"/>
                <a:gd name="T40" fmla="*/ 55 w 104"/>
                <a:gd name="T41" fmla="*/ 0 h 57"/>
                <a:gd name="T42" fmla="*/ 50 w 104"/>
                <a:gd name="T43" fmla="*/ 0 h 57"/>
                <a:gd name="T44" fmla="*/ 50 w 104"/>
                <a:gd name="T45" fmla="*/ 42 h 57"/>
                <a:gd name="T46" fmla="*/ 64 w 104"/>
                <a:gd name="T47" fmla="*/ 57 h 57"/>
                <a:gd name="T48" fmla="*/ 74 w 104"/>
                <a:gd name="T49" fmla="*/ 50 h 57"/>
                <a:gd name="T50" fmla="*/ 104 w 104"/>
                <a:gd name="T51" fmla="*/ 25 h 57"/>
                <a:gd name="T52" fmla="*/ 104 w 104"/>
                <a:gd name="T53" fmla="*/ 20 h 57"/>
                <a:gd name="T54" fmla="*/ 93 w 104"/>
                <a:gd name="T55" fmla="*/ 13 h 57"/>
                <a:gd name="T56" fmla="*/ 78 w 104"/>
                <a:gd name="T57" fmla="*/ 28 h 57"/>
                <a:gd name="T58" fmla="*/ 78 w 104"/>
                <a:gd name="T59" fmla="*/ 46 h 57"/>
                <a:gd name="T60" fmla="*/ 88 w 104"/>
                <a:gd name="T61" fmla="*/ 56 h 57"/>
                <a:gd name="T62" fmla="*/ 92 w 104"/>
                <a:gd name="T63" fmla="*/ 56 h 57"/>
                <a:gd name="T64" fmla="*/ 92 w 104"/>
                <a:gd name="T65" fmla="*/ 31 h 57"/>
                <a:gd name="T66" fmla="*/ 98 w 104"/>
                <a:gd name="T67" fmla="*/ 24 h 57"/>
                <a:gd name="T68" fmla="*/ 103 w 104"/>
                <a:gd name="T69" fmla="*/ 25 h 57"/>
                <a:gd name="T70" fmla="*/ 104 w 104"/>
                <a:gd name="T71"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7">
                  <a:moveTo>
                    <a:pt x="36" y="56"/>
                  </a:moveTo>
                  <a:cubicBezTo>
                    <a:pt x="42" y="56"/>
                    <a:pt x="42" y="56"/>
                    <a:pt x="42" y="56"/>
                  </a:cubicBezTo>
                  <a:cubicBezTo>
                    <a:pt x="42" y="33"/>
                    <a:pt x="42" y="33"/>
                    <a:pt x="42" y="33"/>
                  </a:cubicBezTo>
                  <a:cubicBezTo>
                    <a:pt x="42" y="21"/>
                    <a:pt x="36" y="12"/>
                    <a:pt x="21" y="13"/>
                  </a:cubicBezTo>
                  <a:cubicBezTo>
                    <a:pt x="17" y="13"/>
                    <a:pt x="12" y="16"/>
                    <a:pt x="12" y="16"/>
                  </a:cubicBezTo>
                  <a:cubicBezTo>
                    <a:pt x="10" y="14"/>
                    <a:pt x="8" y="13"/>
                    <a:pt x="5" y="13"/>
                  </a:cubicBezTo>
                  <a:cubicBezTo>
                    <a:pt x="0" y="13"/>
                    <a:pt x="0" y="13"/>
                    <a:pt x="0" y="13"/>
                  </a:cubicBezTo>
                  <a:cubicBezTo>
                    <a:pt x="0" y="47"/>
                    <a:pt x="0" y="47"/>
                    <a:pt x="0" y="47"/>
                  </a:cubicBezTo>
                  <a:cubicBezTo>
                    <a:pt x="0" y="53"/>
                    <a:pt x="3" y="56"/>
                    <a:pt x="9" y="56"/>
                  </a:cubicBezTo>
                  <a:cubicBezTo>
                    <a:pt x="14" y="56"/>
                    <a:pt x="14" y="56"/>
                    <a:pt x="14" y="56"/>
                  </a:cubicBezTo>
                  <a:cubicBezTo>
                    <a:pt x="14" y="33"/>
                    <a:pt x="14" y="33"/>
                    <a:pt x="14" y="33"/>
                  </a:cubicBezTo>
                  <a:cubicBezTo>
                    <a:pt x="14" y="27"/>
                    <a:pt x="16" y="25"/>
                    <a:pt x="20" y="25"/>
                  </a:cubicBezTo>
                  <a:cubicBezTo>
                    <a:pt x="25" y="25"/>
                    <a:pt x="27" y="27"/>
                    <a:pt x="27" y="33"/>
                  </a:cubicBezTo>
                  <a:cubicBezTo>
                    <a:pt x="27" y="47"/>
                    <a:pt x="27" y="47"/>
                    <a:pt x="27" y="47"/>
                  </a:cubicBezTo>
                  <a:cubicBezTo>
                    <a:pt x="27" y="54"/>
                    <a:pt x="29" y="56"/>
                    <a:pt x="36" y="56"/>
                  </a:cubicBezTo>
                  <a:moveTo>
                    <a:pt x="74" y="50"/>
                  </a:moveTo>
                  <a:cubicBezTo>
                    <a:pt x="74" y="45"/>
                    <a:pt x="74" y="45"/>
                    <a:pt x="74" y="45"/>
                  </a:cubicBezTo>
                  <a:cubicBezTo>
                    <a:pt x="70" y="45"/>
                    <a:pt x="70" y="45"/>
                    <a:pt x="70" y="45"/>
                  </a:cubicBezTo>
                  <a:cubicBezTo>
                    <a:pt x="66" y="45"/>
                    <a:pt x="64" y="44"/>
                    <a:pt x="64" y="40"/>
                  </a:cubicBezTo>
                  <a:cubicBezTo>
                    <a:pt x="64" y="10"/>
                    <a:pt x="64" y="10"/>
                    <a:pt x="64" y="10"/>
                  </a:cubicBezTo>
                  <a:cubicBezTo>
                    <a:pt x="64" y="3"/>
                    <a:pt x="61" y="0"/>
                    <a:pt x="55" y="0"/>
                  </a:cubicBezTo>
                  <a:cubicBezTo>
                    <a:pt x="50" y="0"/>
                    <a:pt x="50" y="0"/>
                    <a:pt x="50" y="0"/>
                  </a:cubicBezTo>
                  <a:cubicBezTo>
                    <a:pt x="50" y="42"/>
                    <a:pt x="50" y="42"/>
                    <a:pt x="50" y="42"/>
                  </a:cubicBezTo>
                  <a:cubicBezTo>
                    <a:pt x="50" y="52"/>
                    <a:pt x="56" y="57"/>
                    <a:pt x="64" y="57"/>
                  </a:cubicBezTo>
                  <a:cubicBezTo>
                    <a:pt x="69" y="57"/>
                    <a:pt x="74" y="55"/>
                    <a:pt x="74" y="50"/>
                  </a:cubicBezTo>
                  <a:moveTo>
                    <a:pt x="104" y="25"/>
                  </a:moveTo>
                  <a:cubicBezTo>
                    <a:pt x="104" y="20"/>
                    <a:pt x="104" y="20"/>
                    <a:pt x="104" y="20"/>
                  </a:cubicBezTo>
                  <a:cubicBezTo>
                    <a:pt x="104" y="16"/>
                    <a:pt x="100" y="13"/>
                    <a:pt x="93" y="13"/>
                  </a:cubicBezTo>
                  <a:cubicBezTo>
                    <a:pt x="84" y="13"/>
                    <a:pt x="78" y="20"/>
                    <a:pt x="78" y="28"/>
                  </a:cubicBezTo>
                  <a:cubicBezTo>
                    <a:pt x="78" y="46"/>
                    <a:pt x="78" y="46"/>
                    <a:pt x="78" y="46"/>
                  </a:cubicBezTo>
                  <a:cubicBezTo>
                    <a:pt x="78" y="53"/>
                    <a:pt x="82" y="56"/>
                    <a:pt x="88" y="56"/>
                  </a:cubicBezTo>
                  <a:cubicBezTo>
                    <a:pt x="92" y="56"/>
                    <a:pt x="92" y="56"/>
                    <a:pt x="92" y="56"/>
                  </a:cubicBezTo>
                  <a:cubicBezTo>
                    <a:pt x="92" y="31"/>
                    <a:pt x="92" y="31"/>
                    <a:pt x="92" y="31"/>
                  </a:cubicBezTo>
                  <a:cubicBezTo>
                    <a:pt x="92" y="26"/>
                    <a:pt x="95" y="24"/>
                    <a:pt x="98" y="24"/>
                  </a:cubicBezTo>
                  <a:cubicBezTo>
                    <a:pt x="100" y="24"/>
                    <a:pt x="102" y="24"/>
                    <a:pt x="103" y="25"/>
                  </a:cubicBezTo>
                  <a:lnTo>
                    <a:pt x="10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5">
              <a:extLst>
                <a:ext uri="{FF2B5EF4-FFF2-40B4-BE49-F238E27FC236}">
                  <a16:creationId xmlns:a16="http://schemas.microsoft.com/office/drawing/2014/main" id="{0C957939-5248-44BA-90AD-F93402E9515A}"/>
                </a:ext>
              </a:extLst>
            </p:cNvPr>
            <p:cNvSpPr>
              <a:spLocks/>
            </p:cNvSpPr>
            <p:nvPr userDrawn="1"/>
          </p:nvSpPr>
          <p:spPr bwMode="auto">
            <a:xfrm>
              <a:off x="154" y="199"/>
              <a:ext cx="73" cy="13"/>
            </a:xfrm>
            <a:custGeom>
              <a:avLst/>
              <a:gdLst>
                <a:gd name="T0" fmla="*/ 44 w 45"/>
                <a:gd name="T1" fmla="*/ 1 h 8"/>
                <a:gd name="T2" fmla="*/ 43 w 45"/>
                <a:gd name="T3" fmla="*/ 0 h 8"/>
                <a:gd name="T4" fmla="*/ 2 w 45"/>
                <a:gd name="T5" fmla="*/ 0 h 8"/>
                <a:gd name="T6" fmla="*/ 1 w 45"/>
                <a:gd name="T7" fmla="*/ 1 h 8"/>
                <a:gd name="T8" fmla="*/ 1 w 45"/>
                <a:gd name="T9" fmla="*/ 2 h 8"/>
                <a:gd name="T10" fmla="*/ 2 w 45"/>
                <a:gd name="T11" fmla="*/ 7 h 8"/>
                <a:gd name="T12" fmla="*/ 3 w 45"/>
                <a:gd name="T13" fmla="*/ 8 h 8"/>
                <a:gd name="T14" fmla="*/ 42 w 45"/>
                <a:gd name="T15" fmla="*/ 8 h 8"/>
                <a:gd name="T16" fmla="*/ 43 w 45"/>
                <a:gd name="T17" fmla="*/ 7 h 8"/>
                <a:gd name="T18" fmla="*/ 45 w 45"/>
                <a:gd name="T19" fmla="*/ 2 h 8"/>
                <a:gd name="T20" fmla="*/ 44 w 45"/>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
                  <a:moveTo>
                    <a:pt x="44" y="1"/>
                  </a:moveTo>
                  <a:cubicBezTo>
                    <a:pt x="44" y="0"/>
                    <a:pt x="44" y="0"/>
                    <a:pt x="43" y="0"/>
                  </a:cubicBezTo>
                  <a:cubicBezTo>
                    <a:pt x="2" y="0"/>
                    <a:pt x="2" y="0"/>
                    <a:pt x="2" y="0"/>
                  </a:cubicBezTo>
                  <a:cubicBezTo>
                    <a:pt x="1" y="0"/>
                    <a:pt x="1" y="0"/>
                    <a:pt x="1" y="1"/>
                  </a:cubicBezTo>
                  <a:cubicBezTo>
                    <a:pt x="1" y="1"/>
                    <a:pt x="0" y="2"/>
                    <a:pt x="1" y="2"/>
                  </a:cubicBezTo>
                  <a:cubicBezTo>
                    <a:pt x="2" y="7"/>
                    <a:pt x="2" y="7"/>
                    <a:pt x="2" y="7"/>
                  </a:cubicBezTo>
                  <a:cubicBezTo>
                    <a:pt x="2" y="7"/>
                    <a:pt x="3" y="8"/>
                    <a:pt x="3" y="8"/>
                  </a:cubicBezTo>
                  <a:cubicBezTo>
                    <a:pt x="42" y="8"/>
                    <a:pt x="42" y="8"/>
                    <a:pt x="42" y="8"/>
                  </a:cubicBezTo>
                  <a:cubicBezTo>
                    <a:pt x="42" y="8"/>
                    <a:pt x="43" y="7"/>
                    <a:pt x="43" y="7"/>
                  </a:cubicBezTo>
                  <a:cubicBezTo>
                    <a:pt x="45" y="2"/>
                    <a:pt x="45" y="2"/>
                    <a:pt x="45" y="2"/>
                  </a:cubicBezTo>
                  <a:cubicBezTo>
                    <a:pt x="45" y="2"/>
                    <a:pt x="45" y="1"/>
                    <a:pt x="4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6">
              <a:extLst>
                <a:ext uri="{FF2B5EF4-FFF2-40B4-BE49-F238E27FC236}">
                  <a16:creationId xmlns:a16="http://schemas.microsoft.com/office/drawing/2014/main" id="{6403DF07-EE19-4B1E-8238-75B2324AB69B}"/>
                </a:ext>
              </a:extLst>
            </p:cNvPr>
            <p:cNvSpPr>
              <a:spLocks/>
            </p:cNvSpPr>
            <p:nvPr userDrawn="1"/>
          </p:nvSpPr>
          <p:spPr bwMode="auto">
            <a:xfrm>
              <a:off x="154" y="19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Oval 17">
              <a:extLst>
                <a:ext uri="{FF2B5EF4-FFF2-40B4-BE49-F238E27FC236}">
                  <a16:creationId xmlns:a16="http://schemas.microsoft.com/office/drawing/2014/main" id="{980ABE31-A0E9-4867-9576-9EB625B00B45}"/>
                </a:ext>
              </a:extLst>
            </p:cNvPr>
            <p:cNvSpPr>
              <a:spLocks noChangeArrowheads="1"/>
            </p:cNvSpPr>
            <p:nvPr userDrawn="1"/>
          </p:nvSpPr>
          <p:spPr bwMode="auto">
            <a:xfrm>
              <a:off x="182" y="126"/>
              <a:ext cx="17" cy="1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98082613"/>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dark blue">
    <p:bg bwMode="gray">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bwMode="gray"/>
        <p:txBody>
          <a:bodyPr/>
          <a:lstStyle>
            <a:lvl1pPr>
              <a:defRPr>
                <a:solidFill>
                  <a:schemeClr val="bg1"/>
                </a:solidFill>
              </a:defRPr>
            </a:lvl1pPr>
          </a:lstStyle>
          <a:p>
            <a:r>
              <a:rPr lang="nl-NL" noProof="0"/>
              <a:t>Onregelmatig Werk en Gezondheid: "Lessen" uit de Luchtvaartsector</a:t>
            </a:r>
            <a:endParaRPr lang="en-GB" noProof="0" dirty="0"/>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015EBE98-414E-493A-9124-68D86CEA4F8A}" type="slidenum">
              <a:rPr lang="nl-NL" smtClean="0"/>
              <a:pPr/>
              <a:t>‹#›</a:t>
            </a:fld>
            <a:endParaRPr lang="nl-NL" dirty="0"/>
          </a:p>
        </p:txBody>
      </p:sp>
      <p:cxnSp>
        <p:nvCxnSpPr>
          <p:cNvPr id="14" name="Straight Connector 13"/>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oup 4"/>
          <p:cNvGrpSpPr>
            <a:grpSpLocks noChangeAspect="1"/>
          </p:cNvGrpSpPr>
          <p:nvPr userDrawn="1"/>
        </p:nvGrpSpPr>
        <p:grpSpPr bwMode="auto">
          <a:xfrm>
            <a:off x="146050" y="128588"/>
            <a:ext cx="473075" cy="609600"/>
            <a:chOff x="92" y="81"/>
            <a:chExt cx="298" cy="384"/>
          </a:xfrm>
        </p:grpSpPr>
        <p:sp>
          <p:nvSpPr>
            <p:cNvPr id="16" name="AutoShape 3"/>
            <p:cNvSpPr>
              <a:spLocks noChangeAspect="1" noChangeArrowheads="1" noTextEdit="1"/>
            </p:cNvSpPr>
            <p:nvPr userDrawn="1"/>
          </p:nvSpPr>
          <p:spPr bwMode="auto">
            <a:xfrm>
              <a:off x="92" y="81"/>
              <a:ext cx="298"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
            <p:cNvSpPr>
              <a:spLocks/>
            </p:cNvSpPr>
            <p:nvPr userDrawn="1"/>
          </p:nvSpPr>
          <p:spPr bwMode="auto">
            <a:xfrm>
              <a:off x="273" y="78"/>
              <a:ext cx="82" cy="64"/>
            </a:xfrm>
            <a:custGeom>
              <a:avLst/>
              <a:gdLst>
                <a:gd name="T0" fmla="*/ 4 w 51"/>
                <a:gd name="T1" fmla="*/ 20 h 40"/>
                <a:gd name="T2" fmla="*/ 11 w 51"/>
                <a:gd name="T3" fmla="*/ 26 h 40"/>
                <a:gd name="T4" fmla="*/ 12 w 51"/>
                <a:gd name="T5" fmla="*/ 35 h 40"/>
                <a:gd name="T6" fmla="*/ 14 w 51"/>
                <a:gd name="T7" fmla="*/ 40 h 40"/>
                <a:gd name="T8" fmla="*/ 15 w 51"/>
                <a:gd name="T9" fmla="*/ 40 h 40"/>
                <a:gd name="T10" fmla="*/ 23 w 51"/>
                <a:gd name="T11" fmla="*/ 25 h 40"/>
                <a:gd name="T12" fmla="*/ 46 w 51"/>
                <a:gd name="T13" fmla="*/ 8 h 40"/>
                <a:gd name="T14" fmla="*/ 50 w 51"/>
                <a:gd name="T15" fmla="*/ 2 h 40"/>
                <a:gd name="T16" fmla="*/ 42 w 51"/>
                <a:gd name="T17" fmla="*/ 3 h 40"/>
                <a:gd name="T18" fmla="*/ 16 w 51"/>
                <a:gd name="T19" fmla="*/ 16 h 40"/>
                <a:gd name="T20" fmla="*/ 1 w 51"/>
                <a:gd name="T21" fmla="*/ 17 h 40"/>
                <a:gd name="T22" fmla="*/ 1 w 51"/>
                <a:gd name="T23" fmla="*/ 18 h 40"/>
                <a:gd name="T24" fmla="*/ 3 w 51"/>
                <a:gd name="T25" fmla="*/ 22 h 40"/>
                <a:gd name="T26" fmla="*/ 4 w 51"/>
                <a:gd name="T2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0">
                  <a:moveTo>
                    <a:pt x="4" y="20"/>
                  </a:moveTo>
                  <a:cubicBezTo>
                    <a:pt x="6" y="19"/>
                    <a:pt x="9" y="22"/>
                    <a:pt x="11" y="26"/>
                  </a:cubicBezTo>
                  <a:cubicBezTo>
                    <a:pt x="13" y="30"/>
                    <a:pt x="13" y="34"/>
                    <a:pt x="12" y="35"/>
                  </a:cubicBezTo>
                  <a:cubicBezTo>
                    <a:pt x="12" y="35"/>
                    <a:pt x="14" y="39"/>
                    <a:pt x="14" y="40"/>
                  </a:cubicBezTo>
                  <a:cubicBezTo>
                    <a:pt x="15" y="40"/>
                    <a:pt x="15" y="40"/>
                    <a:pt x="15" y="40"/>
                  </a:cubicBezTo>
                  <a:cubicBezTo>
                    <a:pt x="15" y="39"/>
                    <a:pt x="23" y="25"/>
                    <a:pt x="23" y="25"/>
                  </a:cubicBezTo>
                  <a:cubicBezTo>
                    <a:pt x="23" y="25"/>
                    <a:pt x="45" y="10"/>
                    <a:pt x="46" y="8"/>
                  </a:cubicBezTo>
                  <a:cubicBezTo>
                    <a:pt x="48" y="7"/>
                    <a:pt x="51" y="3"/>
                    <a:pt x="50" y="2"/>
                  </a:cubicBezTo>
                  <a:cubicBezTo>
                    <a:pt x="49" y="0"/>
                    <a:pt x="42" y="3"/>
                    <a:pt x="42" y="3"/>
                  </a:cubicBezTo>
                  <a:cubicBezTo>
                    <a:pt x="16" y="16"/>
                    <a:pt x="16" y="16"/>
                    <a:pt x="16" y="16"/>
                  </a:cubicBezTo>
                  <a:cubicBezTo>
                    <a:pt x="16" y="16"/>
                    <a:pt x="2" y="17"/>
                    <a:pt x="1" y="17"/>
                  </a:cubicBezTo>
                  <a:cubicBezTo>
                    <a:pt x="0" y="17"/>
                    <a:pt x="1" y="18"/>
                    <a:pt x="1" y="18"/>
                  </a:cubicBezTo>
                  <a:cubicBezTo>
                    <a:pt x="3" y="22"/>
                    <a:pt x="3" y="22"/>
                    <a:pt x="3" y="22"/>
                  </a:cubicBezTo>
                  <a:cubicBezTo>
                    <a:pt x="3" y="21"/>
                    <a:pt x="4" y="20"/>
                    <a:pt x="4"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275" y="116"/>
              <a:ext cx="11" cy="19"/>
            </a:xfrm>
            <a:custGeom>
              <a:avLst/>
              <a:gdLst>
                <a:gd name="T0" fmla="*/ 5 w 7"/>
                <a:gd name="T1" fmla="*/ 5 h 12"/>
                <a:gd name="T2" fmla="*/ 1 w 7"/>
                <a:gd name="T3" fmla="*/ 1 h 12"/>
                <a:gd name="T4" fmla="*/ 1 w 7"/>
                <a:gd name="T5" fmla="*/ 8 h 12"/>
                <a:gd name="T6" fmla="*/ 5 w 7"/>
                <a:gd name="T7" fmla="*/ 12 h 12"/>
                <a:gd name="T8" fmla="*/ 5 w 7"/>
                <a:gd name="T9" fmla="*/ 5 h 12"/>
              </a:gdLst>
              <a:ahLst/>
              <a:cxnLst>
                <a:cxn ang="0">
                  <a:pos x="T0" y="T1"/>
                </a:cxn>
                <a:cxn ang="0">
                  <a:pos x="T2" y="T3"/>
                </a:cxn>
                <a:cxn ang="0">
                  <a:pos x="T4" y="T5"/>
                </a:cxn>
                <a:cxn ang="0">
                  <a:pos x="T6" y="T7"/>
                </a:cxn>
                <a:cxn ang="0">
                  <a:pos x="T8" y="T9"/>
                </a:cxn>
              </a:cxnLst>
              <a:rect l="0" t="0" r="r" b="b"/>
              <a:pathLst>
                <a:path w="7" h="12">
                  <a:moveTo>
                    <a:pt x="5" y="5"/>
                  </a:moveTo>
                  <a:cubicBezTo>
                    <a:pt x="4" y="2"/>
                    <a:pt x="2" y="0"/>
                    <a:pt x="1" y="1"/>
                  </a:cubicBezTo>
                  <a:cubicBezTo>
                    <a:pt x="0" y="2"/>
                    <a:pt x="0" y="5"/>
                    <a:pt x="1" y="8"/>
                  </a:cubicBezTo>
                  <a:cubicBezTo>
                    <a:pt x="2" y="11"/>
                    <a:pt x="4" y="12"/>
                    <a:pt x="5" y="12"/>
                  </a:cubicBezTo>
                  <a:cubicBezTo>
                    <a:pt x="7" y="11"/>
                    <a:pt x="7" y="8"/>
                    <a:pt x="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22" y="391"/>
              <a:ext cx="101" cy="80"/>
            </a:xfrm>
            <a:custGeom>
              <a:avLst/>
              <a:gdLst>
                <a:gd name="T0" fmla="*/ 63 w 63"/>
                <a:gd name="T1" fmla="*/ 34 h 50"/>
                <a:gd name="T2" fmla="*/ 34 w 63"/>
                <a:gd name="T3" fmla="*/ 31 h 50"/>
                <a:gd name="T4" fmla="*/ 34 w 63"/>
                <a:gd name="T5" fmla="*/ 31 h 50"/>
                <a:gd name="T6" fmla="*/ 47 w 63"/>
                <a:gd name="T7" fmla="*/ 20 h 50"/>
                <a:gd name="T8" fmla="*/ 47 w 63"/>
                <a:gd name="T9" fmla="*/ 20 h 50"/>
                <a:gd name="T10" fmla="*/ 56 w 63"/>
                <a:gd name="T11" fmla="*/ 21 h 50"/>
                <a:gd name="T12" fmla="*/ 57 w 63"/>
                <a:gd name="T13" fmla="*/ 20 h 50"/>
                <a:gd name="T14" fmla="*/ 59 w 63"/>
                <a:gd name="T15" fmla="*/ 19 h 50"/>
                <a:gd name="T16" fmla="*/ 59 w 63"/>
                <a:gd name="T17" fmla="*/ 19 h 50"/>
                <a:gd name="T18" fmla="*/ 50 w 63"/>
                <a:gd name="T19" fmla="*/ 16 h 50"/>
                <a:gd name="T20" fmla="*/ 50 w 63"/>
                <a:gd name="T21" fmla="*/ 16 h 50"/>
                <a:gd name="T22" fmla="*/ 50 w 63"/>
                <a:gd name="T23" fmla="*/ 0 h 50"/>
                <a:gd name="T24" fmla="*/ 49 w 63"/>
                <a:gd name="T25" fmla="*/ 0 h 50"/>
                <a:gd name="T26" fmla="*/ 47 w 63"/>
                <a:gd name="T27" fmla="*/ 1 h 50"/>
                <a:gd name="T28" fmla="*/ 47 w 63"/>
                <a:gd name="T29" fmla="*/ 2 h 50"/>
                <a:gd name="T30" fmla="*/ 43 w 63"/>
                <a:gd name="T31" fmla="*/ 14 h 50"/>
                <a:gd name="T32" fmla="*/ 43 w 63"/>
                <a:gd name="T33" fmla="*/ 14 h 50"/>
                <a:gd name="T34" fmla="*/ 39 w 63"/>
                <a:gd name="T35" fmla="*/ 13 h 50"/>
                <a:gd name="T36" fmla="*/ 38 w 63"/>
                <a:gd name="T37" fmla="*/ 13 h 50"/>
                <a:gd name="T38" fmla="*/ 37 w 63"/>
                <a:gd name="T39" fmla="*/ 14 h 50"/>
                <a:gd name="T40" fmla="*/ 36 w 63"/>
                <a:gd name="T41" fmla="*/ 14 h 50"/>
                <a:gd name="T42" fmla="*/ 40 w 63"/>
                <a:gd name="T43" fmla="*/ 18 h 50"/>
                <a:gd name="T44" fmla="*/ 40 w 63"/>
                <a:gd name="T45" fmla="*/ 18 h 50"/>
                <a:gd name="T46" fmla="*/ 23 w 63"/>
                <a:gd name="T47" fmla="*/ 27 h 50"/>
                <a:gd name="T48" fmla="*/ 23 w 63"/>
                <a:gd name="T49" fmla="*/ 27 h 50"/>
                <a:gd name="T50" fmla="*/ 9 w 63"/>
                <a:gd name="T51" fmla="*/ 17 h 50"/>
                <a:gd name="T52" fmla="*/ 8 w 63"/>
                <a:gd name="T53" fmla="*/ 17 h 50"/>
                <a:gd name="T54" fmla="*/ 6 w 63"/>
                <a:gd name="T55" fmla="*/ 18 h 50"/>
                <a:gd name="T56" fmla="*/ 6 w 63"/>
                <a:gd name="T57" fmla="*/ 18 h 50"/>
                <a:gd name="T58" fmla="*/ 13 w 63"/>
                <a:gd name="T59" fmla="*/ 32 h 50"/>
                <a:gd name="T60" fmla="*/ 12 w 63"/>
                <a:gd name="T61" fmla="*/ 32 h 50"/>
                <a:gd name="T62" fmla="*/ 3 w 63"/>
                <a:gd name="T63" fmla="*/ 39 h 50"/>
                <a:gd name="T64" fmla="*/ 0 w 63"/>
                <a:gd name="T65" fmla="*/ 46 h 50"/>
                <a:gd name="T66" fmla="*/ 25 w 63"/>
                <a:gd name="T67" fmla="*/ 37 h 50"/>
                <a:gd name="T68" fmla="*/ 25 w 63"/>
                <a:gd name="T69" fmla="*/ 36 h 50"/>
                <a:gd name="T70" fmla="*/ 60 w 63"/>
                <a:gd name="T71" fmla="*/ 36 h 50"/>
                <a:gd name="T72" fmla="*/ 61 w 63"/>
                <a:gd name="T73" fmla="*/ 36 h 50"/>
                <a:gd name="T74" fmla="*/ 63 w 63"/>
                <a:gd name="T75" fmla="*/ 35 h 50"/>
                <a:gd name="T76" fmla="*/ 63 w 63"/>
                <a:gd name="T77"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50">
                  <a:moveTo>
                    <a:pt x="63" y="34"/>
                  </a:moveTo>
                  <a:cubicBezTo>
                    <a:pt x="34" y="31"/>
                    <a:pt x="34" y="31"/>
                    <a:pt x="34" y="31"/>
                  </a:cubicBezTo>
                  <a:cubicBezTo>
                    <a:pt x="34" y="31"/>
                    <a:pt x="33" y="31"/>
                    <a:pt x="34" y="31"/>
                  </a:cubicBezTo>
                  <a:cubicBezTo>
                    <a:pt x="34" y="30"/>
                    <a:pt x="47" y="20"/>
                    <a:pt x="47" y="20"/>
                  </a:cubicBezTo>
                  <a:cubicBezTo>
                    <a:pt x="47" y="20"/>
                    <a:pt x="47" y="20"/>
                    <a:pt x="47" y="20"/>
                  </a:cubicBezTo>
                  <a:cubicBezTo>
                    <a:pt x="48" y="20"/>
                    <a:pt x="54" y="21"/>
                    <a:pt x="56" y="21"/>
                  </a:cubicBezTo>
                  <a:cubicBezTo>
                    <a:pt x="56" y="21"/>
                    <a:pt x="57" y="20"/>
                    <a:pt x="57" y="20"/>
                  </a:cubicBezTo>
                  <a:cubicBezTo>
                    <a:pt x="57" y="20"/>
                    <a:pt x="58" y="20"/>
                    <a:pt x="59" y="19"/>
                  </a:cubicBezTo>
                  <a:cubicBezTo>
                    <a:pt x="59" y="19"/>
                    <a:pt x="59" y="19"/>
                    <a:pt x="59" y="19"/>
                  </a:cubicBezTo>
                  <a:cubicBezTo>
                    <a:pt x="59" y="19"/>
                    <a:pt x="51" y="17"/>
                    <a:pt x="50" y="16"/>
                  </a:cubicBezTo>
                  <a:cubicBezTo>
                    <a:pt x="50" y="16"/>
                    <a:pt x="50" y="16"/>
                    <a:pt x="50" y="16"/>
                  </a:cubicBezTo>
                  <a:cubicBezTo>
                    <a:pt x="50" y="14"/>
                    <a:pt x="50" y="1"/>
                    <a:pt x="50" y="0"/>
                  </a:cubicBezTo>
                  <a:cubicBezTo>
                    <a:pt x="50" y="0"/>
                    <a:pt x="49" y="0"/>
                    <a:pt x="49" y="0"/>
                  </a:cubicBezTo>
                  <a:cubicBezTo>
                    <a:pt x="49" y="0"/>
                    <a:pt x="48" y="1"/>
                    <a:pt x="47" y="1"/>
                  </a:cubicBezTo>
                  <a:cubicBezTo>
                    <a:pt x="47" y="1"/>
                    <a:pt x="47" y="2"/>
                    <a:pt x="47" y="2"/>
                  </a:cubicBezTo>
                  <a:cubicBezTo>
                    <a:pt x="46" y="3"/>
                    <a:pt x="43" y="13"/>
                    <a:pt x="43" y="14"/>
                  </a:cubicBezTo>
                  <a:cubicBezTo>
                    <a:pt x="43" y="14"/>
                    <a:pt x="43" y="14"/>
                    <a:pt x="43" y="14"/>
                  </a:cubicBezTo>
                  <a:cubicBezTo>
                    <a:pt x="42" y="14"/>
                    <a:pt x="40" y="13"/>
                    <a:pt x="39" y="13"/>
                  </a:cubicBezTo>
                  <a:cubicBezTo>
                    <a:pt x="39" y="13"/>
                    <a:pt x="39" y="13"/>
                    <a:pt x="38" y="13"/>
                  </a:cubicBezTo>
                  <a:cubicBezTo>
                    <a:pt x="38" y="13"/>
                    <a:pt x="37" y="13"/>
                    <a:pt x="37" y="14"/>
                  </a:cubicBezTo>
                  <a:cubicBezTo>
                    <a:pt x="36" y="14"/>
                    <a:pt x="36" y="14"/>
                    <a:pt x="36" y="14"/>
                  </a:cubicBezTo>
                  <a:cubicBezTo>
                    <a:pt x="37" y="14"/>
                    <a:pt x="40" y="18"/>
                    <a:pt x="40" y="18"/>
                  </a:cubicBezTo>
                  <a:cubicBezTo>
                    <a:pt x="40" y="18"/>
                    <a:pt x="40" y="18"/>
                    <a:pt x="40" y="18"/>
                  </a:cubicBezTo>
                  <a:cubicBezTo>
                    <a:pt x="23" y="27"/>
                    <a:pt x="23" y="27"/>
                    <a:pt x="23" y="27"/>
                  </a:cubicBezTo>
                  <a:cubicBezTo>
                    <a:pt x="23" y="27"/>
                    <a:pt x="23" y="27"/>
                    <a:pt x="23" y="27"/>
                  </a:cubicBezTo>
                  <a:cubicBezTo>
                    <a:pt x="22" y="26"/>
                    <a:pt x="10" y="18"/>
                    <a:pt x="9" y="17"/>
                  </a:cubicBezTo>
                  <a:cubicBezTo>
                    <a:pt x="9" y="17"/>
                    <a:pt x="9" y="17"/>
                    <a:pt x="8" y="17"/>
                  </a:cubicBezTo>
                  <a:cubicBezTo>
                    <a:pt x="8" y="17"/>
                    <a:pt x="7" y="17"/>
                    <a:pt x="6" y="18"/>
                  </a:cubicBezTo>
                  <a:cubicBezTo>
                    <a:pt x="6" y="18"/>
                    <a:pt x="6" y="18"/>
                    <a:pt x="6" y="18"/>
                  </a:cubicBezTo>
                  <a:cubicBezTo>
                    <a:pt x="6" y="18"/>
                    <a:pt x="13" y="32"/>
                    <a:pt x="13" y="32"/>
                  </a:cubicBezTo>
                  <a:cubicBezTo>
                    <a:pt x="13" y="32"/>
                    <a:pt x="13" y="32"/>
                    <a:pt x="12" y="32"/>
                  </a:cubicBezTo>
                  <a:cubicBezTo>
                    <a:pt x="11" y="33"/>
                    <a:pt x="3" y="36"/>
                    <a:pt x="3" y="39"/>
                  </a:cubicBezTo>
                  <a:cubicBezTo>
                    <a:pt x="2" y="40"/>
                    <a:pt x="0" y="44"/>
                    <a:pt x="0" y="46"/>
                  </a:cubicBezTo>
                  <a:cubicBezTo>
                    <a:pt x="1" y="50"/>
                    <a:pt x="22" y="38"/>
                    <a:pt x="25" y="37"/>
                  </a:cubicBezTo>
                  <a:cubicBezTo>
                    <a:pt x="25" y="36"/>
                    <a:pt x="25" y="36"/>
                    <a:pt x="25" y="36"/>
                  </a:cubicBezTo>
                  <a:cubicBezTo>
                    <a:pt x="29" y="36"/>
                    <a:pt x="58" y="36"/>
                    <a:pt x="60" y="36"/>
                  </a:cubicBezTo>
                  <a:cubicBezTo>
                    <a:pt x="61" y="36"/>
                    <a:pt x="61" y="36"/>
                    <a:pt x="61" y="36"/>
                  </a:cubicBezTo>
                  <a:cubicBezTo>
                    <a:pt x="61" y="36"/>
                    <a:pt x="62" y="35"/>
                    <a:pt x="63" y="35"/>
                  </a:cubicBezTo>
                  <a:cubicBezTo>
                    <a:pt x="63" y="34"/>
                    <a:pt x="63" y="34"/>
                    <a:pt x="63" y="3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4" y="199"/>
              <a:ext cx="145" cy="160"/>
            </a:xfrm>
            <a:custGeom>
              <a:avLst/>
              <a:gdLst>
                <a:gd name="T0" fmla="*/ 89 w 91"/>
                <a:gd name="T1" fmla="*/ 89 h 100"/>
                <a:gd name="T2" fmla="*/ 15 w 91"/>
                <a:gd name="T3" fmla="*/ 38 h 100"/>
                <a:gd name="T4" fmla="*/ 29 w 91"/>
                <a:gd name="T5" fmla="*/ 12 h 100"/>
                <a:gd name="T6" fmla="*/ 30 w 91"/>
                <a:gd name="T7" fmla="*/ 11 h 100"/>
                <a:gd name="T8" fmla="*/ 30 w 91"/>
                <a:gd name="T9" fmla="*/ 1 h 100"/>
                <a:gd name="T10" fmla="*/ 28 w 91"/>
                <a:gd name="T11" fmla="*/ 0 h 100"/>
                <a:gd name="T12" fmla="*/ 14 w 91"/>
                <a:gd name="T13" fmla="*/ 10 h 100"/>
                <a:gd name="T14" fmla="*/ 0 w 91"/>
                <a:gd name="T15" fmla="*/ 39 h 100"/>
                <a:gd name="T16" fmla="*/ 71 w 91"/>
                <a:gd name="T17" fmla="*/ 100 h 100"/>
                <a:gd name="T18" fmla="*/ 75 w 91"/>
                <a:gd name="T19" fmla="*/ 100 h 100"/>
                <a:gd name="T20" fmla="*/ 90 w 91"/>
                <a:gd name="T21" fmla="*/ 91 h 100"/>
                <a:gd name="T22" fmla="*/ 89 w 91"/>
                <a:gd name="T23"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00">
                  <a:moveTo>
                    <a:pt x="89" y="89"/>
                  </a:moveTo>
                  <a:cubicBezTo>
                    <a:pt x="48" y="85"/>
                    <a:pt x="15" y="64"/>
                    <a:pt x="15" y="38"/>
                  </a:cubicBezTo>
                  <a:cubicBezTo>
                    <a:pt x="15" y="28"/>
                    <a:pt x="20" y="20"/>
                    <a:pt x="29" y="12"/>
                  </a:cubicBezTo>
                  <a:cubicBezTo>
                    <a:pt x="29" y="12"/>
                    <a:pt x="30" y="11"/>
                    <a:pt x="30" y="11"/>
                  </a:cubicBezTo>
                  <a:cubicBezTo>
                    <a:pt x="30" y="1"/>
                    <a:pt x="30" y="1"/>
                    <a:pt x="30" y="1"/>
                  </a:cubicBezTo>
                  <a:cubicBezTo>
                    <a:pt x="30" y="0"/>
                    <a:pt x="29" y="0"/>
                    <a:pt x="28" y="0"/>
                  </a:cubicBezTo>
                  <a:cubicBezTo>
                    <a:pt x="22" y="4"/>
                    <a:pt x="17" y="8"/>
                    <a:pt x="14" y="10"/>
                  </a:cubicBezTo>
                  <a:cubicBezTo>
                    <a:pt x="3" y="21"/>
                    <a:pt x="0" y="28"/>
                    <a:pt x="0" y="39"/>
                  </a:cubicBezTo>
                  <a:cubicBezTo>
                    <a:pt x="0" y="67"/>
                    <a:pt x="30" y="93"/>
                    <a:pt x="71" y="100"/>
                  </a:cubicBezTo>
                  <a:cubicBezTo>
                    <a:pt x="73" y="100"/>
                    <a:pt x="74" y="100"/>
                    <a:pt x="75" y="100"/>
                  </a:cubicBezTo>
                  <a:cubicBezTo>
                    <a:pt x="77" y="99"/>
                    <a:pt x="90" y="91"/>
                    <a:pt x="90" y="91"/>
                  </a:cubicBezTo>
                  <a:cubicBezTo>
                    <a:pt x="91" y="90"/>
                    <a:pt x="91" y="89"/>
                    <a:pt x="89"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p:cNvSpPr>
              <a:spLocks/>
            </p:cNvSpPr>
            <p:nvPr userDrawn="1"/>
          </p:nvSpPr>
          <p:spPr bwMode="auto">
            <a:xfrm>
              <a:off x="217" y="126"/>
              <a:ext cx="50" cy="29"/>
            </a:xfrm>
            <a:custGeom>
              <a:avLst/>
              <a:gdLst>
                <a:gd name="T0" fmla="*/ 31 w 31"/>
                <a:gd name="T1" fmla="*/ 1 h 18"/>
                <a:gd name="T2" fmla="*/ 30 w 31"/>
                <a:gd name="T3" fmla="*/ 0 h 18"/>
                <a:gd name="T4" fmla="*/ 1 w 31"/>
                <a:gd name="T5" fmla="*/ 17 h 18"/>
                <a:gd name="T6" fmla="*/ 1 w 31"/>
                <a:gd name="T7" fmla="*/ 18 h 18"/>
                <a:gd name="T8" fmla="*/ 14 w 31"/>
                <a:gd name="T9" fmla="*/ 18 h 18"/>
                <a:gd name="T10" fmla="*/ 16 w 31"/>
                <a:gd name="T11" fmla="*/ 18 h 18"/>
                <a:gd name="T12" fmla="*/ 30 w 31"/>
                <a:gd name="T13" fmla="*/ 9 h 18"/>
                <a:gd name="T14" fmla="*/ 31 w 31"/>
                <a:gd name="T15" fmla="*/ 7 h 18"/>
                <a:gd name="T16" fmla="*/ 31 w 31"/>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8">
                  <a:moveTo>
                    <a:pt x="31" y="1"/>
                  </a:moveTo>
                  <a:cubicBezTo>
                    <a:pt x="31" y="1"/>
                    <a:pt x="31" y="0"/>
                    <a:pt x="30" y="0"/>
                  </a:cubicBezTo>
                  <a:cubicBezTo>
                    <a:pt x="28" y="2"/>
                    <a:pt x="16" y="9"/>
                    <a:pt x="1" y="17"/>
                  </a:cubicBezTo>
                  <a:cubicBezTo>
                    <a:pt x="0" y="17"/>
                    <a:pt x="0" y="18"/>
                    <a:pt x="1" y="18"/>
                  </a:cubicBezTo>
                  <a:cubicBezTo>
                    <a:pt x="14" y="18"/>
                    <a:pt x="14" y="18"/>
                    <a:pt x="14" y="18"/>
                  </a:cubicBezTo>
                  <a:cubicBezTo>
                    <a:pt x="15" y="18"/>
                    <a:pt x="15" y="18"/>
                    <a:pt x="16" y="18"/>
                  </a:cubicBezTo>
                  <a:cubicBezTo>
                    <a:pt x="23" y="13"/>
                    <a:pt x="28" y="10"/>
                    <a:pt x="30" y="9"/>
                  </a:cubicBezTo>
                  <a:cubicBezTo>
                    <a:pt x="31" y="8"/>
                    <a:pt x="31" y="7"/>
                    <a:pt x="31" y="7"/>
                  </a:cubicBezTo>
                  <a:cubicBezTo>
                    <a:pt x="31" y="7"/>
                    <a:pt x="31" y="1"/>
                    <a:pt x="31"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p:cNvSpPr>
              <a:spLocks/>
            </p:cNvSpPr>
            <p:nvPr userDrawn="1"/>
          </p:nvSpPr>
          <p:spPr bwMode="auto">
            <a:xfrm>
              <a:off x="172" y="140"/>
              <a:ext cx="39" cy="51"/>
            </a:xfrm>
            <a:custGeom>
              <a:avLst/>
              <a:gdLst>
                <a:gd name="T0" fmla="*/ 15 w 24"/>
                <a:gd name="T1" fmla="*/ 1 h 32"/>
                <a:gd name="T2" fmla="*/ 12 w 24"/>
                <a:gd name="T3" fmla="*/ 0 h 32"/>
                <a:gd name="T4" fmla="*/ 9 w 24"/>
                <a:gd name="T5" fmla="*/ 1 h 32"/>
                <a:gd name="T6" fmla="*/ 1 w 24"/>
                <a:gd name="T7" fmla="*/ 14 h 32"/>
                <a:gd name="T8" fmla="*/ 1 w 24"/>
                <a:gd name="T9" fmla="*/ 18 h 32"/>
                <a:gd name="T10" fmla="*/ 9 w 24"/>
                <a:gd name="T11" fmla="*/ 30 h 32"/>
                <a:gd name="T12" fmla="*/ 12 w 24"/>
                <a:gd name="T13" fmla="*/ 32 h 32"/>
                <a:gd name="T14" fmla="*/ 15 w 24"/>
                <a:gd name="T15" fmla="*/ 30 h 32"/>
                <a:gd name="T16" fmla="*/ 23 w 24"/>
                <a:gd name="T17" fmla="*/ 18 h 32"/>
                <a:gd name="T18" fmla="*/ 23 w 24"/>
                <a:gd name="T19" fmla="*/ 14 h 32"/>
                <a:gd name="T20" fmla="*/ 15 w 24"/>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5" y="1"/>
                  </a:moveTo>
                  <a:cubicBezTo>
                    <a:pt x="14" y="0"/>
                    <a:pt x="13" y="0"/>
                    <a:pt x="12" y="0"/>
                  </a:cubicBezTo>
                  <a:cubicBezTo>
                    <a:pt x="11" y="0"/>
                    <a:pt x="9" y="0"/>
                    <a:pt x="9" y="1"/>
                  </a:cubicBezTo>
                  <a:cubicBezTo>
                    <a:pt x="1" y="14"/>
                    <a:pt x="1" y="14"/>
                    <a:pt x="1" y="14"/>
                  </a:cubicBezTo>
                  <a:cubicBezTo>
                    <a:pt x="0" y="15"/>
                    <a:pt x="0" y="17"/>
                    <a:pt x="1" y="18"/>
                  </a:cubicBezTo>
                  <a:cubicBezTo>
                    <a:pt x="9" y="30"/>
                    <a:pt x="9" y="30"/>
                    <a:pt x="9" y="30"/>
                  </a:cubicBezTo>
                  <a:cubicBezTo>
                    <a:pt x="9" y="31"/>
                    <a:pt x="11" y="32"/>
                    <a:pt x="12" y="32"/>
                  </a:cubicBezTo>
                  <a:cubicBezTo>
                    <a:pt x="13" y="32"/>
                    <a:pt x="14" y="31"/>
                    <a:pt x="15" y="30"/>
                  </a:cubicBezTo>
                  <a:cubicBezTo>
                    <a:pt x="23" y="18"/>
                    <a:pt x="23" y="18"/>
                    <a:pt x="23" y="18"/>
                  </a:cubicBezTo>
                  <a:cubicBezTo>
                    <a:pt x="24" y="17"/>
                    <a:pt x="24" y="15"/>
                    <a:pt x="23" y="14"/>
                  </a:cubicBezTo>
                  <a:lnTo>
                    <a:pt x="1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1"/>
            <p:cNvSpPr>
              <a:spLocks/>
            </p:cNvSpPr>
            <p:nvPr userDrawn="1"/>
          </p:nvSpPr>
          <p:spPr bwMode="auto">
            <a:xfrm>
              <a:off x="211" y="169"/>
              <a:ext cx="33" cy="22"/>
            </a:xfrm>
            <a:custGeom>
              <a:avLst/>
              <a:gdLst>
                <a:gd name="T0" fmla="*/ 20 w 21"/>
                <a:gd name="T1" fmla="*/ 0 h 14"/>
                <a:gd name="T2" fmla="*/ 11 w 21"/>
                <a:gd name="T3" fmla="*/ 0 h 14"/>
                <a:gd name="T4" fmla="*/ 9 w 21"/>
                <a:gd name="T5" fmla="*/ 1 h 14"/>
                <a:gd name="T6" fmla="*/ 1 w 21"/>
                <a:gd name="T7" fmla="*/ 12 h 14"/>
                <a:gd name="T8" fmla="*/ 1 w 21"/>
                <a:gd name="T9" fmla="*/ 13 h 14"/>
                <a:gd name="T10" fmla="*/ 2 w 21"/>
                <a:gd name="T11" fmla="*/ 14 h 14"/>
                <a:gd name="T12" fmla="*/ 9 w 21"/>
                <a:gd name="T13" fmla="*/ 14 h 14"/>
                <a:gd name="T14" fmla="*/ 10 w 21"/>
                <a:gd name="T15" fmla="*/ 13 h 14"/>
                <a:gd name="T16" fmla="*/ 21 w 21"/>
                <a:gd name="T17" fmla="*/ 2 h 14"/>
                <a:gd name="T18" fmla="*/ 21 w 21"/>
                <a:gd name="T19" fmla="*/ 1 h 14"/>
                <a:gd name="T20" fmla="*/ 20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0"/>
                  </a:moveTo>
                  <a:cubicBezTo>
                    <a:pt x="11" y="0"/>
                    <a:pt x="11" y="0"/>
                    <a:pt x="11" y="0"/>
                  </a:cubicBezTo>
                  <a:cubicBezTo>
                    <a:pt x="10" y="0"/>
                    <a:pt x="10" y="0"/>
                    <a:pt x="9" y="1"/>
                  </a:cubicBezTo>
                  <a:cubicBezTo>
                    <a:pt x="1" y="12"/>
                    <a:pt x="1" y="12"/>
                    <a:pt x="1" y="12"/>
                  </a:cubicBezTo>
                  <a:cubicBezTo>
                    <a:pt x="0" y="12"/>
                    <a:pt x="0" y="13"/>
                    <a:pt x="1" y="13"/>
                  </a:cubicBezTo>
                  <a:cubicBezTo>
                    <a:pt x="1" y="14"/>
                    <a:pt x="1" y="14"/>
                    <a:pt x="2" y="14"/>
                  </a:cubicBezTo>
                  <a:cubicBezTo>
                    <a:pt x="9" y="14"/>
                    <a:pt x="9" y="14"/>
                    <a:pt x="9" y="14"/>
                  </a:cubicBezTo>
                  <a:cubicBezTo>
                    <a:pt x="9" y="14"/>
                    <a:pt x="10" y="14"/>
                    <a:pt x="10" y="13"/>
                  </a:cubicBezTo>
                  <a:cubicBezTo>
                    <a:pt x="21" y="2"/>
                    <a:pt x="21" y="2"/>
                    <a:pt x="21" y="2"/>
                  </a:cubicBezTo>
                  <a:cubicBezTo>
                    <a:pt x="21" y="1"/>
                    <a:pt x="21" y="1"/>
                    <a:pt x="21" y="1"/>
                  </a:cubicBezTo>
                  <a:cubicBezTo>
                    <a:pt x="21" y="0"/>
                    <a:pt x="20" y="0"/>
                    <a:pt x="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p:cNvSpPr>
            <p:nvPr userDrawn="1"/>
          </p:nvSpPr>
          <p:spPr bwMode="auto">
            <a:xfrm>
              <a:off x="137" y="169"/>
              <a:ext cx="34" cy="22"/>
            </a:xfrm>
            <a:custGeom>
              <a:avLst/>
              <a:gdLst>
                <a:gd name="T0" fmla="*/ 12 w 21"/>
                <a:gd name="T1" fmla="*/ 1 h 14"/>
                <a:gd name="T2" fmla="*/ 11 w 21"/>
                <a:gd name="T3" fmla="*/ 0 h 14"/>
                <a:gd name="T4" fmla="*/ 2 w 21"/>
                <a:gd name="T5" fmla="*/ 0 h 14"/>
                <a:gd name="T6" fmla="*/ 0 w 21"/>
                <a:gd name="T7" fmla="*/ 1 h 14"/>
                <a:gd name="T8" fmla="*/ 1 w 21"/>
                <a:gd name="T9" fmla="*/ 2 h 14"/>
                <a:gd name="T10" fmla="*/ 12 w 21"/>
                <a:gd name="T11" fmla="*/ 13 h 14"/>
                <a:gd name="T12" fmla="*/ 13 w 21"/>
                <a:gd name="T13" fmla="*/ 14 h 14"/>
                <a:gd name="T14" fmla="*/ 19 w 21"/>
                <a:gd name="T15" fmla="*/ 14 h 14"/>
                <a:gd name="T16" fmla="*/ 21 w 21"/>
                <a:gd name="T17" fmla="*/ 13 h 14"/>
                <a:gd name="T18" fmla="*/ 21 w 21"/>
                <a:gd name="T19" fmla="*/ 12 h 14"/>
                <a:gd name="T20" fmla="*/ 12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2" y="1"/>
                  </a:moveTo>
                  <a:cubicBezTo>
                    <a:pt x="12" y="0"/>
                    <a:pt x="11" y="0"/>
                    <a:pt x="11" y="0"/>
                  </a:cubicBezTo>
                  <a:cubicBezTo>
                    <a:pt x="2" y="0"/>
                    <a:pt x="2" y="0"/>
                    <a:pt x="2" y="0"/>
                  </a:cubicBezTo>
                  <a:cubicBezTo>
                    <a:pt x="1" y="0"/>
                    <a:pt x="1" y="0"/>
                    <a:pt x="0" y="1"/>
                  </a:cubicBezTo>
                  <a:cubicBezTo>
                    <a:pt x="0" y="1"/>
                    <a:pt x="0" y="1"/>
                    <a:pt x="1" y="2"/>
                  </a:cubicBezTo>
                  <a:cubicBezTo>
                    <a:pt x="12" y="13"/>
                    <a:pt x="12" y="13"/>
                    <a:pt x="12" y="13"/>
                  </a:cubicBezTo>
                  <a:cubicBezTo>
                    <a:pt x="12" y="14"/>
                    <a:pt x="12" y="14"/>
                    <a:pt x="13" y="14"/>
                  </a:cubicBezTo>
                  <a:cubicBezTo>
                    <a:pt x="19" y="14"/>
                    <a:pt x="19" y="14"/>
                    <a:pt x="19" y="14"/>
                  </a:cubicBezTo>
                  <a:cubicBezTo>
                    <a:pt x="20" y="14"/>
                    <a:pt x="21" y="14"/>
                    <a:pt x="21" y="13"/>
                  </a:cubicBezTo>
                  <a:cubicBezTo>
                    <a:pt x="21" y="13"/>
                    <a:pt x="21" y="12"/>
                    <a:pt x="21" y="12"/>
                  </a:cubicBezTo>
                  <a:lnTo>
                    <a:pt x="1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215" y="172"/>
              <a:ext cx="173" cy="235"/>
            </a:xfrm>
            <a:custGeom>
              <a:avLst/>
              <a:gdLst>
                <a:gd name="T0" fmla="*/ 93 w 108"/>
                <a:gd name="T1" fmla="*/ 63 h 147"/>
                <a:gd name="T2" fmla="*/ 66 w 108"/>
                <a:gd name="T3" fmla="*/ 98 h 147"/>
                <a:gd name="T4" fmla="*/ 1 w 108"/>
                <a:gd name="T5" fmla="*/ 138 h 147"/>
                <a:gd name="T6" fmla="*/ 0 w 108"/>
                <a:gd name="T7" fmla="*/ 139 h 147"/>
                <a:gd name="T8" fmla="*/ 0 w 108"/>
                <a:gd name="T9" fmla="*/ 146 h 147"/>
                <a:gd name="T10" fmla="*/ 1 w 108"/>
                <a:gd name="T11" fmla="*/ 147 h 147"/>
                <a:gd name="T12" fmla="*/ 94 w 108"/>
                <a:gd name="T13" fmla="*/ 90 h 147"/>
                <a:gd name="T14" fmla="*/ 108 w 108"/>
                <a:gd name="T15" fmla="*/ 62 h 147"/>
                <a:gd name="T16" fmla="*/ 37 w 108"/>
                <a:gd name="T17" fmla="*/ 1 h 147"/>
                <a:gd name="T18" fmla="*/ 33 w 108"/>
                <a:gd name="T19" fmla="*/ 1 h 147"/>
                <a:gd name="T20" fmla="*/ 18 w 108"/>
                <a:gd name="T21" fmla="*/ 10 h 147"/>
                <a:gd name="T22" fmla="*/ 19 w 108"/>
                <a:gd name="T23" fmla="*/ 12 h 147"/>
                <a:gd name="T24" fmla="*/ 93 w 108"/>
                <a:gd name="T25" fmla="*/ 6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7">
                  <a:moveTo>
                    <a:pt x="93" y="63"/>
                  </a:moveTo>
                  <a:cubicBezTo>
                    <a:pt x="93" y="77"/>
                    <a:pt x="83" y="87"/>
                    <a:pt x="66" y="98"/>
                  </a:cubicBezTo>
                  <a:cubicBezTo>
                    <a:pt x="51" y="108"/>
                    <a:pt x="7" y="134"/>
                    <a:pt x="1" y="138"/>
                  </a:cubicBezTo>
                  <a:cubicBezTo>
                    <a:pt x="0" y="139"/>
                    <a:pt x="0" y="139"/>
                    <a:pt x="0" y="139"/>
                  </a:cubicBezTo>
                  <a:cubicBezTo>
                    <a:pt x="0" y="139"/>
                    <a:pt x="0" y="145"/>
                    <a:pt x="0" y="146"/>
                  </a:cubicBezTo>
                  <a:cubicBezTo>
                    <a:pt x="0" y="146"/>
                    <a:pt x="0" y="147"/>
                    <a:pt x="1" y="147"/>
                  </a:cubicBezTo>
                  <a:cubicBezTo>
                    <a:pt x="7" y="142"/>
                    <a:pt x="78" y="104"/>
                    <a:pt x="94" y="90"/>
                  </a:cubicBezTo>
                  <a:cubicBezTo>
                    <a:pt x="105" y="80"/>
                    <a:pt x="108" y="72"/>
                    <a:pt x="108" y="62"/>
                  </a:cubicBezTo>
                  <a:cubicBezTo>
                    <a:pt x="108" y="34"/>
                    <a:pt x="78" y="8"/>
                    <a:pt x="37" y="1"/>
                  </a:cubicBezTo>
                  <a:cubicBezTo>
                    <a:pt x="35" y="0"/>
                    <a:pt x="34" y="1"/>
                    <a:pt x="33" y="1"/>
                  </a:cubicBezTo>
                  <a:cubicBezTo>
                    <a:pt x="31" y="2"/>
                    <a:pt x="18" y="10"/>
                    <a:pt x="18" y="10"/>
                  </a:cubicBezTo>
                  <a:cubicBezTo>
                    <a:pt x="17" y="11"/>
                    <a:pt x="17" y="12"/>
                    <a:pt x="19" y="12"/>
                  </a:cubicBezTo>
                  <a:cubicBezTo>
                    <a:pt x="60" y="15"/>
                    <a:pt x="93" y="37"/>
                    <a:pt x="93" y="6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noEditPoints="1"/>
            </p:cNvSpPr>
            <p:nvPr userDrawn="1"/>
          </p:nvSpPr>
          <p:spPr bwMode="auto">
            <a:xfrm>
              <a:off x="158" y="214"/>
              <a:ext cx="166" cy="91"/>
            </a:xfrm>
            <a:custGeom>
              <a:avLst/>
              <a:gdLst>
                <a:gd name="T0" fmla="*/ 36 w 104"/>
                <a:gd name="T1" fmla="*/ 56 h 57"/>
                <a:gd name="T2" fmla="*/ 42 w 104"/>
                <a:gd name="T3" fmla="*/ 56 h 57"/>
                <a:gd name="T4" fmla="*/ 42 w 104"/>
                <a:gd name="T5" fmla="*/ 33 h 57"/>
                <a:gd name="T6" fmla="*/ 21 w 104"/>
                <a:gd name="T7" fmla="*/ 13 h 57"/>
                <a:gd name="T8" fmla="*/ 12 w 104"/>
                <a:gd name="T9" fmla="*/ 16 h 57"/>
                <a:gd name="T10" fmla="*/ 5 w 104"/>
                <a:gd name="T11" fmla="*/ 13 h 57"/>
                <a:gd name="T12" fmla="*/ 0 w 104"/>
                <a:gd name="T13" fmla="*/ 13 h 57"/>
                <a:gd name="T14" fmla="*/ 0 w 104"/>
                <a:gd name="T15" fmla="*/ 47 h 57"/>
                <a:gd name="T16" fmla="*/ 9 w 104"/>
                <a:gd name="T17" fmla="*/ 56 h 57"/>
                <a:gd name="T18" fmla="*/ 14 w 104"/>
                <a:gd name="T19" fmla="*/ 56 h 57"/>
                <a:gd name="T20" fmla="*/ 14 w 104"/>
                <a:gd name="T21" fmla="*/ 33 h 57"/>
                <a:gd name="T22" fmla="*/ 20 w 104"/>
                <a:gd name="T23" fmla="*/ 25 h 57"/>
                <a:gd name="T24" fmla="*/ 27 w 104"/>
                <a:gd name="T25" fmla="*/ 33 h 57"/>
                <a:gd name="T26" fmla="*/ 27 w 104"/>
                <a:gd name="T27" fmla="*/ 47 h 57"/>
                <a:gd name="T28" fmla="*/ 36 w 104"/>
                <a:gd name="T29" fmla="*/ 56 h 57"/>
                <a:gd name="T30" fmla="*/ 74 w 104"/>
                <a:gd name="T31" fmla="*/ 50 h 57"/>
                <a:gd name="T32" fmla="*/ 74 w 104"/>
                <a:gd name="T33" fmla="*/ 45 h 57"/>
                <a:gd name="T34" fmla="*/ 70 w 104"/>
                <a:gd name="T35" fmla="*/ 45 h 57"/>
                <a:gd name="T36" fmla="*/ 64 w 104"/>
                <a:gd name="T37" fmla="*/ 40 h 57"/>
                <a:gd name="T38" fmla="*/ 64 w 104"/>
                <a:gd name="T39" fmla="*/ 10 h 57"/>
                <a:gd name="T40" fmla="*/ 55 w 104"/>
                <a:gd name="T41" fmla="*/ 0 h 57"/>
                <a:gd name="T42" fmla="*/ 50 w 104"/>
                <a:gd name="T43" fmla="*/ 0 h 57"/>
                <a:gd name="T44" fmla="*/ 50 w 104"/>
                <a:gd name="T45" fmla="*/ 42 h 57"/>
                <a:gd name="T46" fmla="*/ 64 w 104"/>
                <a:gd name="T47" fmla="*/ 57 h 57"/>
                <a:gd name="T48" fmla="*/ 74 w 104"/>
                <a:gd name="T49" fmla="*/ 50 h 57"/>
                <a:gd name="T50" fmla="*/ 104 w 104"/>
                <a:gd name="T51" fmla="*/ 25 h 57"/>
                <a:gd name="T52" fmla="*/ 104 w 104"/>
                <a:gd name="T53" fmla="*/ 20 h 57"/>
                <a:gd name="T54" fmla="*/ 93 w 104"/>
                <a:gd name="T55" fmla="*/ 13 h 57"/>
                <a:gd name="T56" fmla="*/ 78 w 104"/>
                <a:gd name="T57" fmla="*/ 28 h 57"/>
                <a:gd name="T58" fmla="*/ 78 w 104"/>
                <a:gd name="T59" fmla="*/ 46 h 57"/>
                <a:gd name="T60" fmla="*/ 88 w 104"/>
                <a:gd name="T61" fmla="*/ 56 h 57"/>
                <a:gd name="T62" fmla="*/ 92 w 104"/>
                <a:gd name="T63" fmla="*/ 56 h 57"/>
                <a:gd name="T64" fmla="*/ 92 w 104"/>
                <a:gd name="T65" fmla="*/ 31 h 57"/>
                <a:gd name="T66" fmla="*/ 98 w 104"/>
                <a:gd name="T67" fmla="*/ 24 h 57"/>
                <a:gd name="T68" fmla="*/ 103 w 104"/>
                <a:gd name="T69" fmla="*/ 25 h 57"/>
                <a:gd name="T70" fmla="*/ 104 w 104"/>
                <a:gd name="T71"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7">
                  <a:moveTo>
                    <a:pt x="36" y="56"/>
                  </a:moveTo>
                  <a:cubicBezTo>
                    <a:pt x="42" y="56"/>
                    <a:pt x="42" y="56"/>
                    <a:pt x="42" y="56"/>
                  </a:cubicBezTo>
                  <a:cubicBezTo>
                    <a:pt x="42" y="33"/>
                    <a:pt x="42" y="33"/>
                    <a:pt x="42" y="33"/>
                  </a:cubicBezTo>
                  <a:cubicBezTo>
                    <a:pt x="42" y="21"/>
                    <a:pt x="36" y="12"/>
                    <a:pt x="21" y="13"/>
                  </a:cubicBezTo>
                  <a:cubicBezTo>
                    <a:pt x="17" y="13"/>
                    <a:pt x="12" y="16"/>
                    <a:pt x="12" y="16"/>
                  </a:cubicBezTo>
                  <a:cubicBezTo>
                    <a:pt x="10" y="14"/>
                    <a:pt x="8" y="13"/>
                    <a:pt x="5" y="13"/>
                  </a:cubicBezTo>
                  <a:cubicBezTo>
                    <a:pt x="0" y="13"/>
                    <a:pt x="0" y="13"/>
                    <a:pt x="0" y="13"/>
                  </a:cubicBezTo>
                  <a:cubicBezTo>
                    <a:pt x="0" y="47"/>
                    <a:pt x="0" y="47"/>
                    <a:pt x="0" y="47"/>
                  </a:cubicBezTo>
                  <a:cubicBezTo>
                    <a:pt x="0" y="53"/>
                    <a:pt x="3" y="56"/>
                    <a:pt x="9" y="56"/>
                  </a:cubicBezTo>
                  <a:cubicBezTo>
                    <a:pt x="14" y="56"/>
                    <a:pt x="14" y="56"/>
                    <a:pt x="14" y="56"/>
                  </a:cubicBezTo>
                  <a:cubicBezTo>
                    <a:pt x="14" y="33"/>
                    <a:pt x="14" y="33"/>
                    <a:pt x="14" y="33"/>
                  </a:cubicBezTo>
                  <a:cubicBezTo>
                    <a:pt x="14" y="27"/>
                    <a:pt x="16" y="25"/>
                    <a:pt x="20" y="25"/>
                  </a:cubicBezTo>
                  <a:cubicBezTo>
                    <a:pt x="25" y="25"/>
                    <a:pt x="27" y="27"/>
                    <a:pt x="27" y="33"/>
                  </a:cubicBezTo>
                  <a:cubicBezTo>
                    <a:pt x="27" y="47"/>
                    <a:pt x="27" y="47"/>
                    <a:pt x="27" y="47"/>
                  </a:cubicBezTo>
                  <a:cubicBezTo>
                    <a:pt x="27" y="54"/>
                    <a:pt x="29" y="56"/>
                    <a:pt x="36" y="56"/>
                  </a:cubicBezTo>
                  <a:moveTo>
                    <a:pt x="74" y="50"/>
                  </a:moveTo>
                  <a:cubicBezTo>
                    <a:pt x="74" y="45"/>
                    <a:pt x="74" y="45"/>
                    <a:pt x="74" y="45"/>
                  </a:cubicBezTo>
                  <a:cubicBezTo>
                    <a:pt x="70" y="45"/>
                    <a:pt x="70" y="45"/>
                    <a:pt x="70" y="45"/>
                  </a:cubicBezTo>
                  <a:cubicBezTo>
                    <a:pt x="66" y="45"/>
                    <a:pt x="64" y="44"/>
                    <a:pt x="64" y="40"/>
                  </a:cubicBezTo>
                  <a:cubicBezTo>
                    <a:pt x="64" y="10"/>
                    <a:pt x="64" y="10"/>
                    <a:pt x="64" y="10"/>
                  </a:cubicBezTo>
                  <a:cubicBezTo>
                    <a:pt x="64" y="3"/>
                    <a:pt x="61" y="0"/>
                    <a:pt x="55" y="0"/>
                  </a:cubicBezTo>
                  <a:cubicBezTo>
                    <a:pt x="50" y="0"/>
                    <a:pt x="50" y="0"/>
                    <a:pt x="50" y="0"/>
                  </a:cubicBezTo>
                  <a:cubicBezTo>
                    <a:pt x="50" y="42"/>
                    <a:pt x="50" y="42"/>
                    <a:pt x="50" y="42"/>
                  </a:cubicBezTo>
                  <a:cubicBezTo>
                    <a:pt x="50" y="52"/>
                    <a:pt x="56" y="57"/>
                    <a:pt x="64" y="57"/>
                  </a:cubicBezTo>
                  <a:cubicBezTo>
                    <a:pt x="69" y="57"/>
                    <a:pt x="74" y="55"/>
                    <a:pt x="74" y="50"/>
                  </a:cubicBezTo>
                  <a:moveTo>
                    <a:pt x="104" y="25"/>
                  </a:moveTo>
                  <a:cubicBezTo>
                    <a:pt x="104" y="20"/>
                    <a:pt x="104" y="20"/>
                    <a:pt x="104" y="20"/>
                  </a:cubicBezTo>
                  <a:cubicBezTo>
                    <a:pt x="104" y="16"/>
                    <a:pt x="100" y="13"/>
                    <a:pt x="93" y="13"/>
                  </a:cubicBezTo>
                  <a:cubicBezTo>
                    <a:pt x="84" y="13"/>
                    <a:pt x="78" y="20"/>
                    <a:pt x="78" y="28"/>
                  </a:cubicBezTo>
                  <a:cubicBezTo>
                    <a:pt x="78" y="46"/>
                    <a:pt x="78" y="46"/>
                    <a:pt x="78" y="46"/>
                  </a:cubicBezTo>
                  <a:cubicBezTo>
                    <a:pt x="78" y="53"/>
                    <a:pt x="82" y="56"/>
                    <a:pt x="88" y="56"/>
                  </a:cubicBezTo>
                  <a:cubicBezTo>
                    <a:pt x="92" y="56"/>
                    <a:pt x="92" y="56"/>
                    <a:pt x="92" y="56"/>
                  </a:cubicBezTo>
                  <a:cubicBezTo>
                    <a:pt x="92" y="31"/>
                    <a:pt x="92" y="31"/>
                    <a:pt x="92" y="31"/>
                  </a:cubicBezTo>
                  <a:cubicBezTo>
                    <a:pt x="92" y="26"/>
                    <a:pt x="95" y="24"/>
                    <a:pt x="98" y="24"/>
                  </a:cubicBezTo>
                  <a:cubicBezTo>
                    <a:pt x="100" y="24"/>
                    <a:pt x="102" y="24"/>
                    <a:pt x="103" y="25"/>
                  </a:cubicBezTo>
                  <a:lnTo>
                    <a:pt x="10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154" y="199"/>
              <a:ext cx="73" cy="13"/>
            </a:xfrm>
            <a:custGeom>
              <a:avLst/>
              <a:gdLst>
                <a:gd name="T0" fmla="*/ 44 w 45"/>
                <a:gd name="T1" fmla="*/ 1 h 8"/>
                <a:gd name="T2" fmla="*/ 43 w 45"/>
                <a:gd name="T3" fmla="*/ 0 h 8"/>
                <a:gd name="T4" fmla="*/ 2 w 45"/>
                <a:gd name="T5" fmla="*/ 0 h 8"/>
                <a:gd name="T6" fmla="*/ 1 w 45"/>
                <a:gd name="T7" fmla="*/ 1 h 8"/>
                <a:gd name="T8" fmla="*/ 1 w 45"/>
                <a:gd name="T9" fmla="*/ 2 h 8"/>
                <a:gd name="T10" fmla="*/ 2 w 45"/>
                <a:gd name="T11" fmla="*/ 7 h 8"/>
                <a:gd name="T12" fmla="*/ 3 w 45"/>
                <a:gd name="T13" fmla="*/ 8 h 8"/>
                <a:gd name="T14" fmla="*/ 42 w 45"/>
                <a:gd name="T15" fmla="*/ 8 h 8"/>
                <a:gd name="T16" fmla="*/ 43 w 45"/>
                <a:gd name="T17" fmla="*/ 7 h 8"/>
                <a:gd name="T18" fmla="*/ 45 w 45"/>
                <a:gd name="T19" fmla="*/ 2 h 8"/>
                <a:gd name="T20" fmla="*/ 44 w 45"/>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
                  <a:moveTo>
                    <a:pt x="44" y="1"/>
                  </a:moveTo>
                  <a:cubicBezTo>
                    <a:pt x="44" y="0"/>
                    <a:pt x="44" y="0"/>
                    <a:pt x="43" y="0"/>
                  </a:cubicBezTo>
                  <a:cubicBezTo>
                    <a:pt x="2" y="0"/>
                    <a:pt x="2" y="0"/>
                    <a:pt x="2" y="0"/>
                  </a:cubicBezTo>
                  <a:cubicBezTo>
                    <a:pt x="1" y="0"/>
                    <a:pt x="1" y="0"/>
                    <a:pt x="1" y="1"/>
                  </a:cubicBezTo>
                  <a:cubicBezTo>
                    <a:pt x="1" y="1"/>
                    <a:pt x="0" y="2"/>
                    <a:pt x="1" y="2"/>
                  </a:cubicBezTo>
                  <a:cubicBezTo>
                    <a:pt x="2" y="7"/>
                    <a:pt x="2" y="7"/>
                    <a:pt x="2" y="7"/>
                  </a:cubicBezTo>
                  <a:cubicBezTo>
                    <a:pt x="2" y="7"/>
                    <a:pt x="3" y="8"/>
                    <a:pt x="3" y="8"/>
                  </a:cubicBezTo>
                  <a:cubicBezTo>
                    <a:pt x="42" y="8"/>
                    <a:pt x="42" y="8"/>
                    <a:pt x="42" y="8"/>
                  </a:cubicBezTo>
                  <a:cubicBezTo>
                    <a:pt x="42" y="8"/>
                    <a:pt x="43" y="7"/>
                    <a:pt x="43" y="7"/>
                  </a:cubicBezTo>
                  <a:cubicBezTo>
                    <a:pt x="45" y="2"/>
                    <a:pt x="45" y="2"/>
                    <a:pt x="45" y="2"/>
                  </a:cubicBezTo>
                  <a:cubicBezTo>
                    <a:pt x="45" y="2"/>
                    <a:pt x="45" y="1"/>
                    <a:pt x="4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6"/>
            <p:cNvSpPr>
              <a:spLocks/>
            </p:cNvSpPr>
            <p:nvPr userDrawn="1"/>
          </p:nvSpPr>
          <p:spPr bwMode="auto">
            <a:xfrm>
              <a:off x="154" y="19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Oval 17"/>
            <p:cNvSpPr>
              <a:spLocks noChangeArrowheads="1"/>
            </p:cNvSpPr>
            <p:nvPr userDrawn="1"/>
          </p:nvSpPr>
          <p:spPr bwMode="auto">
            <a:xfrm>
              <a:off x="182" y="126"/>
              <a:ext cx="17" cy="1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 name="Content Placeholder 2">
            <a:extLst>
              <a:ext uri="{FF2B5EF4-FFF2-40B4-BE49-F238E27FC236}">
                <a16:creationId xmlns:a16="http://schemas.microsoft.com/office/drawing/2014/main" id="{06F4271A-E869-4898-8EDB-73B8FA5484B9}"/>
              </a:ext>
            </a:extLst>
          </p:cNvPr>
          <p:cNvSpPr>
            <a:spLocks noGrp="1"/>
          </p:cNvSpPr>
          <p:nvPr>
            <p:ph idx="1"/>
          </p:nvPr>
        </p:nvSpPr>
        <p:spPr>
          <a:xfrm>
            <a:off x="792163" y="1030411"/>
            <a:ext cx="7773988" cy="325446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Title Placeholder 1">
            <a:extLst>
              <a:ext uri="{FF2B5EF4-FFF2-40B4-BE49-F238E27FC236}">
                <a16:creationId xmlns:a16="http://schemas.microsoft.com/office/drawing/2014/main" id="{AE681094-FD32-4574-A118-BE6148571350}"/>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439715748"/>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6 Pictures dark blue">
    <p:bg bwMode="gray">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bwMode="gray"/>
        <p:txBody>
          <a:bodyPr/>
          <a:lstStyle>
            <a:lvl1pPr>
              <a:defRPr>
                <a:solidFill>
                  <a:schemeClr val="bg1"/>
                </a:solidFill>
              </a:defRPr>
            </a:lvl1pPr>
          </a:lstStyle>
          <a:p>
            <a:r>
              <a:rPr lang="nl-NL" noProof="0"/>
              <a:t>Onregelmatig Werk en Gezondheid: "Lessen" uit de Luchtvaartsector</a:t>
            </a:r>
            <a:endParaRPr lang="en-GB" noProof="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015EBE98-414E-493A-9124-68D86CEA4F8A}" type="slidenum">
              <a:rPr lang="nl-NL" smtClean="0"/>
              <a:pPr/>
              <a:t>‹#›</a:t>
            </a:fld>
            <a:endParaRPr lang="nl-NL" dirty="0"/>
          </a:p>
        </p:txBody>
      </p:sp>
      <p:sp>
        <p:nvSpPr>
          <p:cNvPr id="6" name="Picture Placeholder 2"/>
          <p:cNvSpPr>
            <a:spLocks noGrp="1"/>
          </p:cNvSpPr>
          <p:nvPr>
            <p:ph type="pic" idx="1"/>
          </p:nvPr>
        </p:nvSpPr>
        <p:spPr bwMode="gray">
          <a:xfrm>
            <a:off x="681054" y="1029600"/>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7" name="Picture Placeholder 2"/>
          <p:cNvSpPr>
            <a:spLocks noGrp="1"/>
          </p:cNvSpPr>
          <p:nvPr>
            <p:ph type="pic" idx="13"/>
          </p:nvPr>
        </p:nvSpPr>
        <p:spPr bwMode="gray">
          <a:xfrm>
            <a:off x="3433989" y="1029600"/>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8" name="Picture Placeholder 2"/>
          <p:cNvSpPr>
            <a:spLocks noGrp="1"/>
          </p:cNvSpPr>
          <p:nvPr>
            <p:ph type="pic" idx="14"/>
          </p:nvPr>
        </p:nvSpPr>
        <p:spPr bwMode="gray">
          <a:xfrm>
            <a:off x="681692" y="2809181"/>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0" name="Text Placeholder 2"/>
          <p:cNvSpPr>
            <a:spLocks noGrp="1"/>
          </p:cNvSpPr>
          <p:nvPr>
            <p:ph type="body" idx="16" hasCustomPrompt="1"/>
          </p:nvPr>
        </p:nvSpPr>
        <p:spPr bwMode="gray">
          <a:xfrm>
            <a:off x="681038" y="2453794"/>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1" name="Text Placeholder 2"/>
          <p:cNvSpPr>
            <a:spLocks noGrp="1"/>
          </p:cNvSpPr>
          <p:nvPr>
            <p:ph type="body" idx="17" hasCustomPrompt="1"/>
          </p:nvPr>
        </p:nvSpPr>
        <p:spPr bwMode="gray">
          <a:xfrm>
            <a:off x="3433989" y="2448494"/>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2" name="Text Placeholder 2"/>
          <p:cNvSpPr>
            <a:spLocks noGrp="1"/>
          </p:cNvSpPr>
          <p:nvPr>
            <p:ph type="body" idx="18" hasCustomPrompt="1"/>
          </p:nvPr>
        </p:nvSpPr>
        <p:spPr bwMode="gray">
          <a:xfrm>
            <a:off x="681692" y="4221596"/>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3" name="Text Placeholder 2"/>
          <p:cNvSpPr>
            <a:spLocks noGrp="1"/>
          </p:cNvSpPr>
          <p:nvPr>
            <p:ph type="body" idx="19" hasCustomPrompt="1"/>
          </p:nvPr>
        </p:nvSpPr>
        <p:spPr bwMode="gray">
          <a:xfrm>
            <a:off x="3434308" y="4221596"/>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8" name="Picture Placeholder 2"/>
          <p:cNvSpPr>
            <a:spLocks noGrp="1"/>
          </p:cNvSpPr>
          <p:nvPr>
            <p:ph type="pic" idx="20"/>
          </p:nvPr>
        </p:nvSpPr>
        <p:spPr bwMode="gray">
          <a:xfrm>
            <a:off x="3434308" y="2809181"/>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9" name="Picture Placeholder 2"/>
          <p:cNvSpPr>
            <a:spLocks noGrp="1"/>
          </p:cNvSpPr>
          <p:nvPr>
            <p:ph type="pic" idx="21"/>
          </p:nvPr>
        </p:nvSpPr>
        <p:spPr bwMode="gray">
          <a:xfrm>
            <a:off x="6186925" y="1029600"/>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20" name="Picture Placeholder 2"/>
          <p:cNvSpPr>
            <a:spLocks noGrp="1"/>
          </p:cNvSpPr>
          <p:nvPr>
            <p:ph type="pic" idx="22"/>
          </p:nvPr>
        </p:nvSpPr>
        <p:spPr bwMode="gray">
          <a:xfrm>
            <a:off x="6186925" y="2809181"/>
            <a:ext cx="2484000" cy="1416768"/>
          </a:xfrm>
          <a:custGeom>
            <a:avLst/>
            <a:gdLst>
              <a:gd name="connsiteX0" fmla="*/ 262370 w 2484000"/>
              <a:gd name="connsiteY0" fmla="*/ 0 h 1574187"/>
              <a:gd name="connsiteX1" fmla="*/ 2484000 w 2484000"/>
              <a:gd name="connsiteY1" fmla="*/ 0 h 1574187"/>
              <a:gd name="connsiteX2" fmla="*/ 2484000 w 2484000"/>
              <a:gd name="connsiteY2" fmla="*/ 0 h 1574187"/>
              <a:gd name="connsiteX3" fmla="*/ 2484000 w 2484000"/>
              <a:gd name="connsiteY3" fmla="*/ 1311817 h 1574187"/>
              <a:gd name="connsiteX4" fmla="*/ 2221630 w 2484000"/>
              <a:gd name="connsiteY4" fmla="*/ 1574187 h 1574187"/>
              <a:gd name="connsiteX5" fmla="*/ 0 w 2484000"/>
              <a:gd name="connsiteY5" fmla="*/ 1574187 h 1574187"/>
              <a:gd name="connsiteX6" fmla="*/ 0 w 2484000"/>
              <a:gd name="connsiteY6" fmla="*/ 1574187 h 1574187"/>
              <a:gd name="connsiteX7" fmla="*/ 0 w 2484000"/>
              <a:gd name="connsiteY7" fmla="*/ 262370 h 1574187"/>
              <a:gd name="connsiteX8" fmla="*/ 262370 w 2484000"/>
              <a:gd name="connsiteY8" fmla="*/ 0 h 1574187"/>
              <a:gd name="connsiteX0" fmla="*/ 64513 w 2548080"/>
              <a:gd name="connsiteY0" fmla="*/ 0 h 1574187"/>
              <a:gd name="connsiteX1" fmla="*/ 2548080 w 2548080"/>
              <a:gd name="connsiteY1" fmla="*/ 0 h 1574187"/>
              <a:gd name="connsiteX2" fmla="*/ 2548080 w 2548080"/>
              <a:gd name="connsiteY2" fmla="*/ 0 h 1574187"/>
              <a:gd name="connsiteX3" fmla="*/ 2548080 w 2548080"/>
              <a:gd name="connsiteY3" fmla="*/ 1311817 h 1574187"/>
              <a:gd name="connsiteX4" fmla="*/ 2285710 w 2548080"/>
              <a:gd name="connsiteY4" fmla="*/ 1574187 h 1574187"/>
              <a:gd name="connsiteX5" fmla="*/ 64080 w 2548080"/>
              <a:gd name="connsiteY5" fmla="*/ 1574187 h 1574187"/>
              <a:gd name="connsiteX6" fmla="*/ 64080 w 2548080"/>
              <a:gd name="connsiteY6" fmla="*/ 1574187 h 1574187"/>
              <a:gd name="connsiteX7" fmla="*/ 64080 w 2548080"/>
              <a:gd name="connsiteY7" fmla="*/ 262370 h 1574187"/>
              <a:gd name="connsiteX8" fmla="*/ 64513 w 2548080"/>
              <a:gd name="connsiteY8" fmla="*/ 0 h 1574187"/>
              <a:gd name="connsiteX0" fmla="*/ 433 w 2484000"/>
              <a:gd name="connsiteY0" fmla="*/ 0 h 1574187"/>
              <a:gd name="connsiteX1" fmla="*/ 2484000 w 2484000"/>
              <a:gd name="connsiteY1" fmla="*/ 0 h 1574187"/>
              <a:gd name="connsiteX2" fmla="*/ 2484000 w 2484000"/>
              <a:gd name="connsiteY2" fmla="*/ 0 h 1574187"/>
              <a:gd name="connsiteX3" fmla="*/ 2484000 w 2484000"/>
              <a:gd name="connsiteY3" fmla="*/ 1311817 h 1574187"/>
              <a:gd name="connsiteX4" fmla="*/ 2221630 w 2484000"/>
              <a:gd name="connsiteY4" fmla="*/ 1574187 h 1574187"/>
              <a:gd name="connsiteX5" fmla="*/ 0 w 2484000"/>
              <a:gd name="connsiteY5" fmla="*/ 1574187 h 1574187"/>
              <a:gd name="connsiteX6" fmla="*/ 0 w 2484000"/>
              <a:gd name="connsiteY6" fmla="*/ 1574187 h 1574187"/>
              <a:gd name="connsiteX7" fmla="*/ 0 w 2484000"/>
              <a:gd name="connsiteY7" fmla="*/ 262370 h 1574187"/>
              <a:gd name="connsiteX8" fmla="*/ 433 w 2484000"/>
              <a:gd name="connsiteY8" fmla="*/ 0 h 157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4000" h="1574187">
                <a:moveTo>
                  <a:pt x="433" y="0"/>
                </a:moveTo>
                <a:lnTo>
                  <a:pt x="2484000" y="0"/>
                </a:lnTo>
                <a:lnTo>
                  <a:pt x="2484000" y="0"/>
                </a:lnTo>
                <a:lnTo>
                  <a:pt x="2484000" y="1311817"/>
                </a:lnTo>
                <a:cubicBezTo>
                  <a:pt x="2484000" y="1456720"/>
                  <a:pt x="2366533" y="1574187"/>
                  <a:pt x="2221630" y="1574187"/>
                </a:cubicBezTo>
                <a:lnTo>
                  <a:pt x="0" y="1574187"/>
                </a:lnTo>
                <a:lnTo>
                  <a:pt x="0" y="1574187"/>
                </a:lnTo>
                <a:lnTo>
                  <a:pt x="0" y="262370"/>
                </a:lnTo>
                <a:cubicBezTo>
                  <a:pt x="0" y="117467"/>
                  <a:pt x="216" y="131185"/>
                  <a:pt x="433" y="0"/>
                </a:cubicBezTo>
                <a:close/>
              </a:path>
            </a:pathLst>
          </a:cu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21" name="Text Placeholder 2"/>
          <p:cNvSpPr>
            <a:spLocks noGrp="1"/>
          </p:cNvSpPr>
          <p:nvPr>
            <p:ph type="body" idx="23" hasCustomPrompt="1"/>
          </p:nvPr>
        </p:nvSpPr>
        <p:spPr bwMode="gray">
          <a:xfrm>
            <a:off x="6186925" y="2448494"/>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22" name="Text Placeholder 2"/>
          <p:cNvSpPr>
            <a:spLocks noGrp="1"/>
          </p:cNvSpPr>
          <p:nvPr>
            <p:ph type="body" idx="24" hasCustomPrompt="1"/>
          </p:nvPr>
        </p:nvSpPr>
        <p:spPr bwMode="gray">
          <a:xfrm>
            <a:off x="6186925" y="4221596"/>
            <a:ext cx="24840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cxnSp>
        <p:nvCxnSpPr>
          <p:cNvPr id="17" name="Straight Connector 16"/>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oup 4"/>
          <p:cNvGrpSpPr>
            <a:grpSpLocks noChangeAspect="1"/>
          </p:cNvGrpSpPr>
          <p:nvPr userDrawn="1"/>
        </p:nvGrpSpPr>
        <p:grpSpPr bwMode="auto">
          <a:xfrm>
            <a:off x="146050" y="128588"/>
            <a:ext cx="473075" cy="609600"/>
            <a:chOff x="92" y="81"/>
            <a:chExt cx="298" cy="384"/>
          </a:xfrm>
        </p:grpSpPr>
        <p:sp>
          <p:nvSpPr>
            <p:cNvPr id="31" name="AutoShape 3"/>
            <p:cNvSpPr>
              <a:spLocks noChangeAspect="1" noChangeArrowheads="1" noTextEdit="1"/>
            </p:cNvSpPr>
            <p:nvPr userDrawn="1"/>
          </p:nvSpPr>
          <p:spPr bwMode="auto">
            <a:xfrm>
              <a:off x="92" y="81"/>
              <a:ext cx="298"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5"/>
            <p:cNvSpPr>
              <a:spLocks/>
            </p:cNvSpPr>
            <p:nvPr userDrawn="1"/>
          </p:nvSpPr>
          <p:spPr bwMode="auto">
            <a:xfrm>
              <a:off x="273" y="78"/>
              <a:ext cx="82" cy="64"/>
            </a:xfrm>
            <a:custGeom>
              <a:avLst/>
              <a:gdLst>
                <a:gd name="T0" fmla="*/ 4 w 51"/>
                <a:gd name="T1" fmla="*/ 20 h 40"/>
                <a:gd name="T2" fmla="*/ 11 w 51"/>
                <a:gd name="T3" fmla="*/ 26 h 40"/>
                <a:gd name="T4" fmla="*/ 12 w 51"/>
                <a:gd name="T5" fmla="*/ 35 h 40"/>
                <a:gd name="T6" fmla="*/ 14 w 51"/>
                <a:gd name="T7" fmla="*/ 40 h 40"/>
                <a:gd name="T8" fmla="*/ 15 w 51"/>
                <a:gd name="T9" fmla="*/ 40 h 40"/>
                <a:gd name="T10" fmla="*/ 23 w 51"/>
                <a:gd name="T11" fmla="*/ 25 h 40"/>
                <a:gd name="T12" fmla="*/ 46 w 51"/>
                <a:gd name="T13" fmla="*/ 8 h 40"/>
                <a:gd name="T14" fmla="*/ 50 w 51"/>
                <a:gd name="T15" fmla="*/ 2 h 40"/>
                <a:gd name="T16" fmla="*/ 42 w 51"/>
                <a:gd name="T17" fmla="*/ 3 h 40"/>
                <a:gd name="T18" fmla="*/ 16 w 51"/>
                <a:gd name="T19" fmla="*/ 16 h 40"/>
                <a:gd name="T20" fmla="*/ 1 w 51"/>
                <a:gd name="T21" fmla="*/ 17 h 40"/>
                <a:gd name="T22" fmla="*/ 1 w 51"/>
                <a:gd name="T23" fmla="*/ 18 h 40"/>
                <a:gd name="T24" fmla="*/ 3 w 51"/>
                <a:gd name="T25" fmla="*/ 22 h 40"/>
                <a:gd name="T26" fmla="*/ 4 w 51"/>
                <a:gd name="T2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0">
                  <a:moveTo>
                    <a:pt x="4" y="20"/>
                  </a:moveTo>
                  <a:cubicBezTo>
                    <a:pt x="6" y="19"/>
                    <a:pt x="9" y="22"/>
                    <a:pt x="11" y="26"/>
                  </a:cubicBezTo>
                  <a:cubicBezTo>
                    <a:pt x="13" y="30"/>
                    <a:pt x="13" y="34"/>
                    <a:pt x="12" y="35"/>
                  </a:cubicBezTo>
                  <a:cubicBezTo>
                    <a:pt x="12" y="35"/>
                    <a:pt x="14" y="39"/>
                    <a:pt x="14" y="40"/>
                  </a:cubicBezTo>
                  <a:cubicBezTo>
                    <a:pt x="15" y="40"/>
                    <a:pt x="15" y="40"/>
                    <a:pt x="15" y="40"/>
                  </a:cubicBezTo>
                  <a:cubicBezTo>
                    <a:pt x="15" y="39"/>
                    <a:pt x="23" y="25"/>
                    <a:pt x="23" y="25"/>
                  </a:cubicBezTo>
                  <a:cubicBezTo>
                    <a:pt x="23" y="25"/>
                    <a:pt x="45" y="10"/>
                    <a:pt x="46" y="8"/>
                  </a:cubicBezTo>
                  <a:cubicBezTo>
                    <a:pt x="48" y="7"/>
                    <a:pt x="51" y="3"/>
                    <a:pt x="50" y="2"/>
                  </a:cubicBezTo>
                  <a:cubicBezTo>
                    <a:pt x="49" y="0"/>
                    <a:pt x="42" y="3"/>
                    <a:pt x="42" y="3"/>
                  </a:cubicBezTo>
                  <a:cubicBezTo>
                    <a:pt x="16" y="16"/>
                    <a:pt x="16" y="16"/>
                    <a:pt x="16" y="16"/>
                  </a:cubicBezTo>
                  <a:cubicBezTo>
                    <a:pt x="16" y="16"/>
                    <a:pt x="2" y="17"/>
                    <a:pt x="1" y="17"/>
                  </a:cubicBezTo>
                  <a:cubicBezTo>
                    <a:pt x="0" y="17"/>
                    <a:pt x="1" y="18"/>
                    <a:pt x="1" y="18"/>
                  </a:cubicBezTo>
                  <a:cubicBezTo>
                    <a:pt x="3" y="22"/>
                    <a:pt x="3" y="22"/>
                    <a:pt x="3" y="22"/>
                  </a:cubicBezTo>
                  <a:cubicBezTo>
                    <a:pt x="3" y="21"/>
                    <a:pt x="4" y="20"/>
                    <a:pt x="4"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6"/>
            <p:cNvSpPr>
              <a:spLocks/>
            </p:cNvSpPr>
            <p:nvPr userDrawn="1"/>
          </p:nvSpPr>
          <p:spPr bwMode="auto">
            <a:xfrm>
              <a:off x="275" y="116"/>
              <a:ext cx="11" cy="19"/>
            </a:xfrm>
            <a:custGeom>
              <a:avLst/>
              <a:gdLst>
                <a:gd name="T0" fmla="*/ 5 w 7"/>
                <a:gd name="T1" fmla="*/ 5 h 12"/>
                <a:gd name="T2" fmla="*/ 1 w 7"/>
                <a:gd name="T3" fmla="*/ 1 h 12"/>
                <a:gd name="T4" fmla="*/ 1 w 7"/>
                <a:gd name="T5" fmla="*/ 8 h 12"/>
                <a:gd name="T6" fmla="*/ 5 w 7"/>
                <a:gd name="T7" fmla="*/ 12 h 12"/>
                <a:gd name="T8" fmla="*/ 5 w 7"/>
                <a:gd name="T9" fmla="*/ 5 h 12"/>
              </a:gdLst>
              <a:ahLst/>
              <a:cxnLst>
                <a:cxn ang="0">
                  <a:pos x="T0" y="T1"/>
                </a:cxn>
                <a:cxn ang="0">
                  <a:pos x="T2" y="T3"/>
                </a:cxn>
                <a:cxn ang="0">
                  <a:pos x="T4" y="T5"/>
                </a:cxn>
                <a:cxn ang="0">
                  <a:pos x="T6" y="T7"/>
                </a:cxn>
                <a:cxn ang="0">
                  <a:pos x="T8" y="T9"/>
                </a:cxn>
              </a:cxnLst>
              <a:rect l="0" t="0" r="r" b="b"/>
              <a:pathLst>
                <a:path w="7" h="12">
                  <a:moveTo>
                    <a:pt x="5" y="5"/>
                  </a:moveTo>
                  <a:cubicBezTo>
                    <a:pt x="4" y="2"/>
                    <a:pt x="2" y="0"/>
                    <a:pt x="1" y="1"/>
                  </a:cubicBezTo>
                  <a:cubicBezTo>
                    <a:pt x="0" y="2"/>
                    <a:pt x="0" y="5"/>
                    <a:pt x="1" y="8"/>
                  </a:cubicBezTo>
                  <a:cubicBezTo>
                    <a:pt x="2" y="11"/>
                    <a:pt x="4" y="12"/>
                    <a:pt x="5" y="12"/>
                  </a:cubicBezTo>
                  <a:cubicBezTo>
                    <a:pt x="7" y="11"/>
                    <a:pt x="7" y="8"/>
                    <a:pt x="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7"/>
            <p:cNvSpPr>
              <a:spLocks/>
            </p:cNvSpPr>
            <p:nvPr userDrawn="1"/>
          </p:nvSpPr>
          <p:spPr bwMode="auto">
            <a:xfrm>
              <a:off x="122" y="391"/>
              <a:ext cx="101" cy="80"/>
            </a:xfrm>
            <a:custGeom>
              <a:avLst/>
              <a:gdLst>
                <a:gd name="T0" fmla="*/ 63 w 63"/>
                <a:gd name="T1" fmla="*/ 34 h 50"/>
                <a:gd name="T2" fmla="*/ 34 w 63"/>
                <a:gd name="T3" fmla="*/ 31 h 50"/>
                <a:gd name="T4" fmla="*/ 34 w 63"/>
                <a:gd name="T5" fmla="*/ 31 h 50"/>
                <a:gd name="T6" fmla="*/ 47 w 63"/>
                <a:gd name="T7" fmla="*/ 20 h 50"/>
                <a:gd name="T8" fmla="*/ 47 w 63"/>
                <a:gd name="T9" fmla="*/ 20 h 50"/>
                <a:gd name="T10" fmla="*/ 56 w 63"/>
                <a:gd name="T11" fmla="*/ 21 h 50"/>
                <a:gd name="T12" fmla="*/ 57 w 63"/>
                <a:gd name="T13" fmla="*/ 20 h 50"/>
                <a:gd name="T14" fmla="*/ 59 w 63"/>
                <a:gd name="T15" fmla="*/ 19 h 50"/>
                <a:gd name="T16" fmla="*/ 59 w 63"/>
                <a:gd name="T17" fmla="*/ 19 h 50"/>
                <a:gd name="T18" fmla="*/ 50 w 63"/>
                <a:gd name="T19" fmla="*/ 16 h 50"/>
                <a:gd name="T20" fmla="*/ 50 w 63"/>
                <a:gd name="T21" fmla="*/ 16 h 50"/>
                <a:gd name="T22" fmla="*/ 50 w 63"/>
                <a:gd name="T23" fmla="*/ 0 h 50"/>
                <a:gd name="T24" fmla="*/ 49 w 63"/>
                <a:gd name="T25" fmla="*/ 0 h 50"/>
                <a:gd name="T26" fmla="*/ 47 w 63"/>
                <a:gd name="T27" fmla="*/ 1 h 50"/>
                <a:gd name="T28" fmla="*/ 47 w 63"/>
                <a:gd name="T29" fmla="*/ 2 h 50"/>
                <a:gd name="T30" fmla="*/ 43 w 63"/>
                <a:gd name="T31" fmla="*/ 14 h 50"/>
                <a:gd name="T32" fmla="*/ 43 w 63"/>
                <a:gd name="T33" fmla="*/ 14 h 50"/>
                <a:gd name="T34" fmla="*/ 39 w 63"/>
                <a:gd name="T35" fmla="*/ 13 h 50"/>
                <a:gd name="T36" fmla="*/ 38 w 63"/>
                <a:gd name="T37" fmla="*/ 13 h 50"/>
                <a:gd name="T38" fmla="*/ 37 w 63"/>
                <a:gd name="T39" fmla="*/ 14 h 50"/>
                <a:gd name="T40" fmla="*/ 36 w 63"/>
                <a:gd name="T41" fmla="*/ 14 h 50"/>
                <a:gd name="T42" fmla="*/ 40 w 63"/>
                <a:gd name="T43" fmla="*/ 18 h 50"/>
                <a:gd name="T44" fmla="*/ 40 w 63"/>
                <a:gd name="T45" fmla="*/ 18 h 50"/>
                <a:gd name="T46" fmla="*/ 23 w 63"/>
                <a:gd name="T47" fmla="*/ 27 h 50"/>
                <a:gd name="T48" fmla="*/ 23 w 63"/>
                <a:gd name="T49" fmla="*/ 27 h 50"/>
                <a:gd name="T50" fmla="*/ 9 w 63"/>
                <a:gd name="T51" fmla="*/ 17 h 50"/>
                <a:gd name="T52" fmla="*/ 8 w 63"/>
                <a:gd name="T53" fmla="*/ 17 h 50"/>
                <a:gd name="T54" fmla="*/ 6 w 63"/>
                <a:gd name="T55" fmla="*/ 18 h 50"/>
                <a:gd name="T56" fmla="*/ 6 w 63"/>
                <a:gd name="T57" fmla="*/ 18 h 50"/>
                <a:gd name="T58" fmla="*/ 13 w 63"/>
                <a:gd name="T59" fmla="*/ 32 h 50"/>
                <a:gd name="T60" fmla="*/ 12 w 63"/>
                <a:gd name="T61" fmla="*/ 32 h 50"/>
                <a:gd name="T62" fmla="*/ 3 w 63"/>
                <a:gd name="T63" fmla="*/ 39 h 50"/>
                <a:gd name="T64" fmla="*/ 0 w 63"/>
                <a:gd name="T65" fmla="*/ 46 h 50"/>
                <a:gd name="T66" fmla="*/ 25 w 63"/>
                <a:gd name="T67" fmla="*/ 37 h 50"/>
                <a:gd name="T68" fmla="*/ 25 w 63"/>
                <a:gd name="T69" fmla="*/ 36 h 50"/>
                <a:gd name="T70" fmla="*/ 60 w 63"/>
                <a:gd name="T71" fmla="*/ 36 h 50"/>
                <a:gd name="T72" fmla="*/ 61 w 63"/>
                <a:gd name="T73" fmla="*/ 36 h 50"/>
                <a:gd name="T74" fmla="*/ 63 w 63"/>
                <a:gd name="T75" fmla="*/ 35 h 50"/>
                <a:gd name="T76" fmla="*/ 63 w 63"/>
                <a:gd name="T77"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50">
                  <a:moveTo>
                    <a:pt x="63" y="34"/>
                  </a:moveTo>
                  <a:cubicBezTo>
                    <a:pt x="34" y="31"/>
                    <a:pt x="34" y="31"/>
                    <a:pt x="34" y="31"/>
                  </a:cubicBezTo>
                  <a:cubicBezTo>
                    <a:pt x="34" y="31"/>
                    <a:pt x="33" y="31"/>
                    <a:pt x="34" y="31"/>
                  </a:cubicBezTo>
                  <a:cubicBezTo>
                    <a:pt x="34" y="30"/>
                    <a:pt x="47" y="20"/>
                    <a:pt x="47" y="20"/>
                  </a:cubicBezTo>
                  <a:cubicBezTo>
                    <a:pt x="47" y="20"/>
                    <a:pt x="47" y="20"/>
                    <a:pt x="47" y="20"/>
                  </a:cubicBezTo>
                  <a:cubicBezTo>
                    <a:pt x="48" y="20"/>
                    <a:pt x="54" y="21"/>
                    <a:pt x="56" y="21"/>
                  </a:cubicBezTo>
                  <a:cubicBezTo>
                    <a:pt x="56" y="21"/>
                    <a:pt x="57" y="20"/>
                    <a:pt x="57" y="20"/>
                  </a:cubicBezTo>
                  <a:cubicBezTo>
                    <a:pt x="57" y="20"/>
                    <a:pt x="58" y="20"/>
                    <a:pt x="59" y="19"/>
                  </a:cubicBezTo>
                  <a:cubicBezTo>
                    <a:pt x="59" y="19"/>
                    <a:pt x="59" y="19"/>
                    <a:pt x="59" y="19"/>
                  </a:cubicBezTo>
                  <a:cubicBezTo>
                    <a:pt x="59" y="19"/>
                    <a:pt x="51" y="17"/>
                    <a:pt x="50" y="16"/>
                  </a:cubicBezTo>
                  <a:cubicBezTo>
                    <a:pt x="50" y="16"/>
                    <a:pt x="50" y="16"/>
                    <a:pt x="50" y="16"/>
                  </a:cubicBezTo>
                  <a:cubicBezTo>
                    <a:pt x="50" y="14"/>
                    <a:pt x="50" y="1"/>
                    <a:pt x="50" y="0"/>
                  </a:cubicBezTo>
                  <a:cubicBezTo>
                    <a:pt x="50" y="0"/>
                    <a:pt x="49" y="0"/>
                    <a:pt x="49" y="0"/>
                  </a:cubicBezTo>
                  <a:cubicBezTo>
                    <a:pt x="49" y="0"/>
                    <a:pt x="48" y="1"/>
                    <a:pt x="47" y="1"/>
                  </a:cubicBezTo>
                  <a:cubicBezTo>
                    <a:pt x="47" y="1"/>
                    <a:pt x="47" y="2"/>
                    <a:pt x="47" y="2"/>
                  </a:cubicBezTo>
                  <a:cubicBezTo>
                    <a:pt x="46" y="3"/>
                    <a:pt x="43" y="13"/>
                    <a:pt x="43" y="14"/>
                  </a:cubicBezTo>
                  <a:cubicBezTo>
                    <a:pt x="43" y="14"/>
                    <a:pt x="43" y="14"/>
                    <a:pt x="43" y="14"/>
                  </a:cubicBezTo>
                  <a:cubicBezTo>
                    <a:pt x="42" y="14"/>
                    <a:pt x="40" y="13"/>
                    <a:pt x="39" y="13"/>
                  </a:cubicBezTo>
                  <a:cubicBezTo>
                    <a:pt x="39" y="13"/>
                    <a:pt x="39" y="13"/>
                    <a:pt x="38" y="13"/>
                  </a:cubicBezTo>
                  <a:cubicBezTo>
                    <a:pt x="38" y="13"/>
                    <a:pt x="37" y="13"/>
                    <a:pt x="37" y="14"/>
                  </a:cubicBezTo>
                  <a:cubicBezTo>
                    <a:pt x="36" y="14"/>
                    <a:pt x="36" y="14"/>
                    <a:pt x="36" y="14"/>
                  </a:cubicBezTo>
                  <a:cubicBezTo>
                    <a:pt x="37" y="14"/>
                    <a:pt x="40" y="18"/>
                    <a:pt x="40" y="18"/>
                  </a:cubicBezTo>
                  <a:cubicBezTo>
                    <a:pt x="40" y="18"/>
                    <a:pt x="40" y="18"/>
                    <a:pt x="40" y="18"/>
                  </a:cubicBezTo>
                  <a:cubicBezTo>
                    <a:pt x="23" y="27"/>
                    <a:pt x="23" y="27"/>
                    <a:pt x="23" y="27"/>
                  </a:cubicBezTo>
                  <a:cubicBezTo>
                    <a:pt x="23" y="27"/>
                    <a:pt x="23" y="27"/>
                    <a:pt x="23" y="27"/>
                  </a:cubicBezTo>
                  <a:cubicBezTo>
                    <a:pt x="22" y="26"/>
                    <a:pt x="10" y="18"/>
                    <a:pt x="9" y="17"/>
                  </a:cubicBezTo>
                  <a:cubicBezTo>
                    <a:pt x="9" y="17"/>
                    <a:pt x="9" y="17"/>
                    <a:pt x="8" y="17"/>
                  </a:cubicBezTo>
                  <a:cubicBezTo>
                    <a:pt x="8" y="17"/>
                    <a:pt x="7" y="17"/>
                    <a:pt x="6" y="18"/>
                  </a:cubicBezTo>
                  <a:cubicBezTo>
                    <a:pt x="6" y="18"/>
                    <a:pt x="6" y="18"/>
                    <a:pt x="6" y="18"/>
                  </a:cubicBezTo>
                  <a:cubicBezTo>
                    <a:pt x="6" y="18"/>
                    <a:pt x="13" y="32"/>
                    <a:pt x="13" y="32"/>
                  </a:cubicBezTo>
                  <a:cubicBezTo>
                    <a:pt x="13" y="32"/>
                    <a:pt x="13" y="32"/>
                    <a:pt x="12" y="32"/>
                  </a:cubicBezTo>
                  <a:cubicBezTo>
                    <a:pt x="11" y="33"/>
                    <a:pt x="3" y="36"/>
                    <a:pt x="3" y="39"/>
                  </a:cubicBezTo>
                  <a:cubicBezTo>
                    <a:pt x="2" y="40"/>
                    <a:pt x="0" y="44"/>
                    <a:pt x="0" y="46"/>
                  </a:cubicBezTo>
                  <a:cubicBezTo>
                    <a:pt x="1" y="50"/>
                    <a:pt x="22" y="38"/>
                    <a:pt x="25" y="37"/>
                  </a:cubicBezTo>
                  <a:cubicBezTo>
                    <a:pt x="25" y="36"/>
                    <a:pt x="25" y="36"/>
                    <a:pt x="25" y="36"/>
                  </a:cubicBezTo>
                  <a:cubicBezTo>
                    <a:pt x="29" y="36"/>
                    <a:pt x="58" y="36"/>
                    <a:pt x="60" y="36"/>
                  </a:cubicBezTo>
                  <a:cubicBezTo>
                    <a:pt x="61" y="36"/>
                    <a:pt x="61" y="36"/>
                    <a:pt x="61" y="36"/>
                  </a:cubicBezTo>
                  <a:cubicBezTo>
                    <a:pt x="61" y="36"/>
                    <a:pt x="62" y="35"/>
                    <a:pt x="63" y="35"/>
                  </a:cubicBezTo>
                  <a:cubicBezTo>
                    <a:pt x="63" y="34"/>
                    <a:pt x="63" y="34"/>
                    <a:pt x="63" y="3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p:cNvSpPr>
            <p:nvPr userDrawn="1"/>
          </p:nvSpPr>
          <p:spPr bwMode="auto">
            <a:xfrm>
              <a:off x="94" y="199"/>
              <a:ext cx="145" cy="160"/>
            </a:xfrm>
            <a:custGeom>
              <a:avLst/>
              <a:gdLst>
                <a:gd name="T0" fmla="*/ 89 w 91"/>
                <a:gd name="T1" fmla="*/ 89 h 100"/>
                <a:gd name="T2" fmla="*/ 15 w 91"/>
                <a:gd name="T3" fmla="*/ 38 h 100"/>
                <a:gd name="T4" fmla="*/ 29 w 91"/>
                <a:gd name="T5" fmla="*/ 12 h 100"/>
                <a:gd name="T6" fmla="*/ 30 w 91"/>
                <a:gd name="T7" fmla="*/ 11 h 100"/>
                <a:gd name="T8" fmla="*/ 30 w 91"/>
                <a:gd name="T9" fmla="*/ 1 h 100"/>
                <a:gd name="T10" fmla="*/ 28 w 91"/>
                <a:gd name="T11" fmla="*/ 0 h 100"/>
                <a:gd name="T12" fmla="*/ 14 w 91"/>
                <a:gd name="T13" fmla="*/ 10 h 100"/>
                <a:gd name="T14" fmla="*/ 0 w 91"/>
                <a:gd name="T15" fmla="*/ 39 h 100"/>
                <a:gd name="T16" fmla="*/ 71 w 91"/>
                <a:gd name="T17" fmla="*/ 100 h 100"/>
                <a:gd name="T18" fmla="*/ 75 w 91"/>
                <a:gd name="T19" fmla="*/ 100 h 100"/>
                <a:gd name="T20" fmla="*/ 90 w 91"/>
                <a:gd name="T21" fmla="*/ 91 h 100"/>
                <a:gd name="T22" fmla="*/ 89 w 91"/>
                <a:gd name="T23"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00">
                  <a:moveTo>
                    <a:pt x="89" y="89"/>
                  </a:moveTo>
                  <a:cubicBezTo>
                    <a:pt x="48" y="85"/>
                    <a:pt x="15" y="64"/>
                    <a:pt x="15" y="38"/>
                  </a:cubicBezTo>
                  <a:cubicBezTo>
                    <a:pt x="15" y="28"/>
                    <a:pt x="20" y="20"/>
                    <a:pt x="29" y="12"/>
                  </a:cubicBezTo>
                  <a:cubicBezTo>
                    <a:pt x="29" y="12"/>
                    <a:pt x="30" y="11"/>
                    <a:pt x="30" y="11"/>
                  </a:cubicBezTo>
                  <a:cubicBezTo>
                    <a:pt x="30" y="1"/>
                    <a:pt x="30" y="1"/>
                    <a:pt x="30" y="1"/>
                  </a:cubicBezTo>
                  <a:cubicBezTo>
                    <a:pt x="30" y="0"/>
                    <a:pt x="29" y="0"/>
                    <a:pt x="28" y="0"/>
                  </a:cubicBezTo>
                  <a:cubicBezTo>
                    <a:pt x="22" y="4"/>
                    <a:pt x="17" y="8"/>
                    <a:pt x="14" y="10"/>
                  </a:cubicBezTo>
                  <a:cubicBezTo>
                    <a:pt x="3" y="21"/>
                    <a:pt x="0" y="28"/>
                    <a:pt x="0" y="39"/>
                  </a:cubicBezTo>
                  <a:cubicBezTo>
                    <a:pt x="0" y="67"/>
                    <a:pt x="30" y="93"/>
                    <a:pt x="71" y="100"/>
                  </a:cubicBezTo>
                  <a:cubicBezTo>
                    <a:pt x="73" y="100"/>
                    <a:pt x="74" y="100"/>
                    <a:pt x="75" y="100"/>
                  </a:cubicBezTo>
                  <a:cubicBezTo>
                    <a:pt x="77" y="99"/>
                    <a:pt x="90" y="91"/>
                    <a:pt x="90" y="91"/>
                  </a:cubicBezTo>
                  <a:cubicBezTo>
                    <a:pt x="91" y="90"/>
                    <a:pt x="91" y="89"/>
                    <a:pt x="89"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9"/>
            <p:cNvSpPr>
              <a:spLocks/>
            </p:cNvSpPr>
            <p:nvPr userDrawn="1"/>
          </p:nvSpPr>
          <p:spPr bwMode="auto">
            <a:xfrm>
              <a:off x="217" y="126"/>
              <a:ext cx="50" cy="29"/>
            </a:xfrm>
            <a:custGeom>
              <a:avLst/>
              <a:gdLst>
                <a:gd name="T0" fmla="*/ 31 w 31"/>
                <a:gd name="T1" fmla="*/ 1 h 18"/>
                <a:gd name="T2" fmla="*/ 30 w 31"/>
                <a:gd name="T3" fmla="*/ 0 h 18"/>
                <a:gd name="T4" fmla="*/ 1 w 31"/>
                <a:gd name="T5" fmla="*/ 17 h 18"/>
                <a:gd name="T6" fmla="*/ 1 w 31"/>
                <a:gd name="T7" fmla="*/ 18 h 18"/>
                <a:gd name="T8" fmla="*/ 14 w 31"/>
                <a:gd name="T9" fmla="*/ 18 h 18"/>
                <a:gd name="T10" fmla="*/ 16 w 31"/>
                <a:gd name="T11" fmla="*/ 18 h 18"/>
                <a:gd name="T12" fmla="*/ 30 w 31"/>
                <a:gd name="T13" fmla="*/ 9 h 18"/>
                <a:gd name="T14" fmla="*/ 31 w 31"/>
                <a:gd name="T15" fmla="*/ 7 h 18"/>
                <a:gd name="T16" fmla="*/ 31 w 31"/>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8">
                  <a:moveTo>
                    <a:pt x="31" y="1"/>
                  </a:moveTo>
                  <a:cubicBezTo>
                    <a:pt x="31" y="1"/>
                    <a:pt x="31" y="0"/>
                    <a:pt x="30" y="0"/>
                  </a:cubicBezTo>
                  <a:cubicBezTo>
                    <a:pt x="28" y="2"/>
                    <a:pt x="16" y="9"/>
                    <a:pt x="1" y="17"/>
                  </a:cubicBezTo>
                  <a:cubicBezTo>
                    <a:pt x="0" y="17"/>
                    <a:pt x="0" y="18"/>
                    <a:pt x="1" y="18"/>
                  </a:cubicBezTo>
                  <a:cubicBezTo>
                    <a:pt x="14" y="18"/>
                    <a:pt x="14" y="18"/>
                    <a:pt x="14" y="18"/>
                  </a:cubicBezTo>
                  <a:cubicBezTo>
                    <a:pt x="15" y="18"/>
                    <a:pt x="15" y="18"/>
                    <a:pt x="16" y="18"/>
                  </a:cubicBezTo>
                  <a:cubicBezTo>
                    <a:pt x="23" y="13"/>
                    <a:pt x="28" y="10"/>
                    <a:pt x="30" y="9"/>
                  </a:cubicBezTo>
                  <a:cubicBezTo>
                    <a:pt x="31" y="8"/>
                    <a:pt x="31" y="7"/>
                    <a:pt x="31" y="7"/>
                  </a:cubicBezTo>
                  <a:cubicBezTo>
                    <a:pt x="31" y="7"/>
                    <a:pt x="31" y="1"/>
                    <a:pt x="31"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0"/>
            <p:cNvSpPr>
              <a:spLocks/>
            </p:cNvSpPr>
            <p:nvPr userDrawn="1"/>
          </p:nvSpPr>
          <p:spPr bwMode="auto">
            <a:xfrm>
              <a:off x="172" y="140"/>
              <a:ext cx="39" cy="51"/>
            </a:xfrm>
            <a:custGeom>
              <a:avLst/>
              <a:gdLst>
                <a:gd name="T0" fmla="*/ 15 w 24"/>
                <a:gd name="T1" fmla="*/ 1 h 32"/>
                <a:gd name="T2" fmla="*/ 12 w 24"/>
                <a:gd name="T3" fmla="*/ 0 h 32"/>
                <a:gd name="T4" fmla="*/ 9 w 24"/>
                <a:gd name="T5" fmla="*/ 1 h 32"/>
                <a:gd name="T6" fmla="*/ 1 w 24"/>
                <a:gd name="T7" fmla="*/ 14 h 32"/>
                <a:gd name="T8" fmla="*/ 1 w 24"/>
                <a:gd name="T9" fmla="*/ 18 h 32"/>
                <a:gd name="T10" fmla="*/ 9 w 24"/>
                <a:gd name="T11" fmla="*/ 30 h 32"/>
                <a:gd name="T12" fmla="*/ 12 w 24"/>
                <a:gd name="T13" fmla="*/ 32 h 32"/>
                <a:gd name="T14" fmla="*/ 15 w 24"/>
                <a:gd name="T15" fmla="*/ 30 h 32"/>
                <a:gd name="T16" fmla="*/ 23 w 24"/>
                <a:gd name="T17" fmla="*/ 18 h 32"/>
                <a:gd name="T18" fmla="*/ 23 w 24"/>
                <a:gd name="T19" fmla="*/ 14 h 32"/>
                <a:gd name="T20" fmla="*/ 15 w 24"/>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5" y="1"/>
                  </a:moveTo>
                  <a:cubicBezTo>
                    <a:pt x="14" y="0"/>
                    <a:pt x="13" y="0"/>
                    <a:pt x="12" y="0"/>
                  </a:cubicBezTo>
                  <a:cubicBezTo>
                    <a:pt x="11" y="0"/>
                    <a:pt x="9" y="0"/>
                    <a:pt x="9" y="1"/>
                  </a:cubicBezTo>
                  <a:cubicBezTo>
                    <a:pt x="1" y="14"/>
                    <a:pt x="1" y="14"/>
                    <a:pt x="1" y="14"/>
                  </a:cubicBezTo>
                  <a:cubicBezTo>
                    <a:pt x="0" y="15"/>
                    <a:pt x="0" y="17"/>
                    <a:pt x="1" y="18"/>
                  </a:cubicBezTo>
                  <a:cubicBezTo>
                    <a:pt x="9" y="30"/>
                    <a:pt x="9" y="30"/>
                    <a:pt x="9" y="30"/>
                  </a:cubicBezTo>
                  <a:cubicBezTo>
                    <a:pt x="9" y="31"/>
                    <a:pt x="11" y="32"/>
                    <a:pt x="12" y="32"/>
                  </a:cubicBezTo>
                  <a:cubicBezTo>
                    <a:pt x="13" y="32"/>
                    <a:pt x="14" y="31"/>
                    <a:pt x="15" y="30"/>
                  </a:cubicBezTo>
                  <a:cubicBezTo>
                    <a:pt x="23" y="18"/>
                    <a:pt x="23" y="18"/>
                    <a:pt x="23" y="18"/>
                  </a:cubicBezTo>
                  <a:cubicBezTo>
                    <a:pt x="24" y="17"/>
                    <a:pt x="24" y="15"/>
                    <a:pt x="23" y="14"/>
                  </a:cubicBezTo>
                  <a:lnTo>
                    <a:pt x="1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1"/>
            <p:cNvSpPr>
              <a:spLocks/>
            </p:cNvSpPr>
            <p:nvPr userDrawn="1"/>
          </p:nvSpPr>
          <p:spPr bwMode="auto">
            <a:xfrm>
              <a:off x="211" y="169"/>
              <a:ext cx="33" cy="22"/>
            </a:xfrm>
            <a:custGeom>
              <a:avLst/>
              <a:gdLst>
                <a:gd name="T0" fmla="*/ 20 w 21"/>
                <a:gd name="T1" fmla="*/ 0 h 14"/>
                <a:gd name="T2" fmla="*/ 11 w 21"/>
                <a:gd name="T3" fmla="*/ 0 h 14"/>
                <a:gd name="T4" fmla="*/ 9 w 21"/>
                <a:gd name="T5" fmla="*/ 1 h 14"/>
                <a:gd name="T6" fmla="*/ 1 w 21"/>
                <a:gd name="T7" fmla="*/ 12 h 14"/>
                <a:gd name="T8" fmla="*/ 1 w 21"/>
                <a:gd name="T9" fmla="*/ 13 h 14"/>
                <a:gd name="T10" fmla="*/ 2 w 21"/>
                <a:gd name="T11" fmla="*/ 14 h 14"/>
                <a:gd name="T12" fmla="*/ 9 w 21"/>
                <a:gd name="T13" fmla="*/ 14 h 14"/>
                <a:gd name="T14" fmla="*/ 10 w 21"/>
                <a:gd name="T15" fmla="*/ 13 h 14"/>
                <a:gd name="T16" fmla="*/ 21 w 21"/>
                <a:gd name="T17" fmla="*/ 2 h 14"/>
                <a:gd name="T18" fmla="*/ 21 w 21"/>
                <a:gd name="T19" fmla="*/ 1 h 14"/>
                <a:gd name="T20" fmla="*/ 20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0"/>
                  </a:moveTo>
                  <a:cubicBezTo>
                    <a:pt x="11" y="0"/>
                    <a:pt x="11" y="0"/>
                    <a:pt x="11" y="0"/>
                  </a:cubicBezTo>
                  <a:cubicBezTo>
                    <a:pt x="10" y="0"/>
                    <a:pt x="10" y="0"/>
                    <a:pt x="9" y="1"/>
                  </a:cubicBezTo>
                  <a:cubicBezTo>
                    <a:pt x="1" y="12"/>
                    <a:pt x="1" y="12"/>
                    <a:pt x="1" y="12"/>
                  </a:cubicBezTo>
                  <a:cubicBezTo>
                    <a:pt x="0" y="12"/>
                    <a:pt x="0" y="13"/>
                    <a:pt x="1" y="13"/>
                  </a:cubicBezTo>
                  <a:cubicBezTo>
                    <a:pt x="1" y="14"/>
                    <a:pt x="1" y="14"/>
                    <a:pt x="2" y="14"/>
                  </a:cubicBezTo>
                  <a:cubicBezTo>
                    <a:pt x="9" y="14"/>
                    <a:pt x="9" y="14"/>
                    <a:pt x="9" y="14"/>
                  </a:cubicBezTo>
                  <a:cubicBezTo>
                    <a:pt x="9" y="14"/>
                    <a:pt x="10" y="14"/>
                    <a:pt x="10" y="13"/>
                  </a:cubicBezTo>
                  <a:cubicBezTo>
                    <a:pt x="21" y="2"/>
                    <a:pt x="21" y="2"/>
                    <a:pt x="21" y="2"/>
                  </a:cubicBezTo>
                  <a:cubicBezTo>
                    <a:pt x="21" y="1"/>
                    <a:pt x="21" y="1"/>
                    <a:pt x="21" y="1"/>
                  </a:cubicBezTo>
                  <a:cubicBezTo>
                    <a:pt x="21" y="0"/>
                    <a:pt x="20" y="0"/>
                    <a:pt x="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12"/>
            <p:cNvSpPr>
              <a:spLocks/>
            </p:cNvSpPr>
            <p:nvPr userDrawn="1"/>
          </p:nvSpPr>
          <p:spPr bwMode="auto">
            <a:xfrm>
              <a:off x="137" y="169"/>
              <a:ext cx="34" cy="22"/>
            </a:xfrm>
            <a:custGeom>
              <a:avLst/>
              <a:gdLst>
                <a:gd name="T0" fmla="*/ 12 w 21"/>
                <a:gd name="T1" fmla="*/ 1 h 14"/>
                <a:gd name="T2" fmla="*/ 11 w 21"/>
                <a:gd name="T3" fmla="*/ 0 h 14"/>
                <a:gd name="T4" fmla="*/ 2 w 21"/>
                <a:gd name="T5" fmla="*/ 0 h 14"/>
                <a:gd name="T6" fmla="*/ 0 w 21"/>
                <a:gd name="T7" fmla="*/ 1 h 14"/>
                <a:gd name="T8" fmla="*/ 1 w 21"/>
                <a:gd name="T9" fmla="*/ 2 h 14"/>
                <a:gd name="T10" fmla="*/ 12 w 21"/>
                <a:gd name="T11" fmla="*/ 13 h 14"/>
                <a:gd name="T12" fmla="*/ 13 w 21"/>
                <a:gd name="T13" fmla="*/ 14 h 14"/>
                <a:gd name="T14" fmla="*/ 19 w 21"/>
                <a:gd name="T15" fmla="*/ 14 h 14"/>
                <a:gd name="T16" fmla="*/ 21 w 21"/>
                <a:gd name="T17" fmla="*/ 13 h 14"/>
                <a:gd name="T18" fmla="*/ 21 w 21"/>
                <a:gd name="T19" fmla="*/ 12 h 14"/>
                <a:gd name="T20" fmla="*/ 12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2" y="1"/>
                  </a:moveTo>
                  <a:cubicBezTo>
                    <a:pt x="12" y="0"/>
                    <a:pt x="11" y="0"/>
                    <a:pt x="11" y="0"/>
                  </a:cubicBezTo>
                  <a:cubicBezTo>
                    <a:pt x="2" y="0"/>
                    <a:pt x="2" y="0"/>
                    <a:pt x="2" y="0"/>
                  </a:cubicBezTo>
                  <a:cubicBezTo>
                    <a:pt x="1" y="0"/>
                    <a:pt x="1" y="0"/>
                    <a:pt x="0" y="1"/>
                  </a:cubicBezTo>
                  <a:cubicBezTo>
                    <a:pt x="0" y="1"/>
                    <a:pt x="0" y="1"/>
                    <a:pt x="1" y="2"/>
                  </a:cubicBezTo>
                  <a:cubicBezTo>
                    <a:pt x="12" y="13"/>
                    <a:pt x="12" y="13"/>
                    <a:pt x="12" y="13"/>
                  </a:cubicBezTo>
                  <a:cubicBezTo>
                    <a:pt x="12" y="14"/>
                    <a:pt x="12" y="14"/>
                    <a:pt x="13" y="14"/>
                  </a:cubicBezTo>
                  <a:cubicBezTo>
                    <a:pt x="19" y="14"/>
                    <a:pt x="19" y="14"/>
                    <a:pt x="19" y="14"/>
                  </a:cubicBezTo>
                  <a:cubicBezTo>
                    <a:pt x="20" y="14"/>
                    <a:pt x="21" y="14"/>
                    <a:pt x="21" y="13"/>
                  </a:cubicBezTo>
                  <a:cubicBezTo>
                    <a:pt x="21" y="13"/>
                    <a:pt x="21" y="12"/>
                    <a:pt x="21" y="12"/>
                  </a:cubicBezTo>
                  <a:lnTo>
                    <a:pt x="1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3"/>
            <p:cNvSpPr>
              <a:spLocks/>
            </p:cNvSpPr>
            <p:nvPr userDrawn="1"/>
          </p:nvSpPr>
          <p:spPr bwMode="auto">
            <a:xfrm>
              <a:off x="215" y="172"/>
              <a:ext cx="173" cy="235"/>
            </a:xfrm>
            <a:custGeom>
              <a:avLst/>
              <a:gdLst>
                <a:gd name="T0" fmla="*/ 93 w 108"/>
                <a:gd name="T1" fmla="*/ 63 h 147"/>
                <a:gd name="T2" fmla="*/ 66 w 108"/>
                <a:gd name="T3" fmla="*/ 98 h 147"/>
                <a:gd name="T4" fmla="*/ 1 w 108"/>
                <a:gd name="T5" fmla="*/ 138 h 147"/>
                <a:gd name="T6" fmla="*/ 0 w 108"/>
                <a:gd name="T7" fmla="*/ 139 h 147"/>
                <a:gd name="T8" fmla="*/ 0 w 108"/>
                <a:gd name="T9" fmla="*/ 146 h 147"/>
                <a:gd name="T10" fmla="*/ 1 w 108"/>
                <a:gd name="T11" fmla="*/ 147 h 147"/>
                <a:gd name="T12" fmla="*/ 94 w 108"/>
                <a:gd name="T13" fmla="*/ 90 h 147"/>
                <a:gd name="T14" fmla="*/ 108 w 108"/>
                <a:gd name="T15" fmla="*/ 62 h 147"/>
                <a:gd name="T16" fmla="*/ 37 w 108"/>
                <a:gd name="T17" fmla="*/ 1 h 147"/>
                <a:gd name="T18" fmla="*/ 33 w 108"/>
                <a:gd name="T19" fmla="*/ 1 h 147"/>
                <a:gd name="T20" fmla="*/ 18 w 108"/>
                <a:gd name="T21" fmla="*/ 10 h 147"/>
                <a:gd name="T22" fmla="*/ 19 w 108"/>
                <a:gd name="T23" fmla="*/ 12 h 147"/>
                <a:gd name="T24" fmla="*/ 93 w 108"/>
                <a:gd name="T25" fmla="*/ 6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7">
                  <a:moveTo>
                    <a:pt x="93" y="63"/>
                  </a:moveTo>
                  <a:cubicBezTo>
                    <a:pt x="93" y="77"/>
                    <a:pt x="83" y="87"/>
                    <a:pt x="66" y="98"/>
                  </a:cubicBezTo>
                  <a:cubicBezTo>
                    <a:pt x="51" y="108"/>
                    <a:pt x="7" y="134"/>
                    <a:pt x="1" y="138"/>
                  </a:cubicBezTo>
                  <a:cubicBezTo>
                    <a:pt x="0" y="139"/>
                    <a:pt x="0" y="139"/>
                    <a:pt x="0" y="139"/>
                  </a:cubicBezTo>
                  <a:cubicBezTo>
                    <a:pt x="0" y="139"/>
                    <a:pt x="0" y="145"/>
                    <a:pt x="0" y="146"/>
                  </a:cubicBezTo>
                  <a:cubicBezTo>
                    <a:pt x="0" y="146"/>
                    <a:pt x="0" y="147"/>
                    <a:pt x="1" y="147"/>
                  </a:cubicBezTo>
                  <a:cubicBezTo>
                    <a:pt x="7" y="142"/>
                    <a:pt x="78" y="104"/>
                    <a:pt x="94" y="90"/>
                  </a:cubicBezTo>
                  <a:cubicBezTo>
                    <a:pt x="105" y="80"/>
                    <a:pt x="108" y="72"/>
                    <a:pt x="108" y="62"/>
                  </a:cubicBezTo>
                  <a:cubicBezTo>
                    <a:pt x="108" y="34"/>
                    <a:pt x="78" y="8"/>
                    <a:pt x="37" y="1"/>
                  </a:cubicBezTo>
                  <a:cubicBezTo>
                    <a:pt x="35" y="0"/>
                    <a:pt x="34" y="1"/>
                    <a:pt x="33" y="1"/>
                  </a:cubicBezTo>
                  <a:cubicBezTo>
                    <a:pt x="31" y="2"/>
                    <a:pt x="18" y="10"/>
                    <a:pt x="18" y="10"/>
                  </a:cubicBezTo>
                  <a:cubicBezTo>
                    <a:pt x="17" y="11"/>
                    <a:pt x="17" y="12"/>
                    <a:pt x="19" y="12"/>
                  </a:cubicBezTo>
                  <a:cubicBezTo>
                    <a:pt x="60" y="15"/>
                    <a:pt x="93" y="37"/>
                    <a:pt x="93" y="6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14"/>
            <p:cNvSpPr>
              <a:spLocks noEditPoints="1"/>
            </p:cNvSpPr>
            <p:nvPr userDrawn="1"/>
          </p:nvSpPr>
          <p:spPr bwMode="auto">
            <a:xfrm>
              <a:off x="158" y="214"/>
              <a:ext cx="166" cy="91"/>
            </a:xfrm>
            <a:custGeom>
              <a:avLst/>
              <a:gdLst>
                <a:gd name="T0" fmla="*/ 36 w 104"/>
                <a:gd name="T1" fmla="*/ 56 h 57"/>
                <a:gd name="T2" fmla="*/ 42 w 104"/>
                <a:gd name="T3" fmla="*/ 56 h 57"/>
                <a:gd name="T4" fmla="*/ 42 w 104"/>
                <a:gd name="T5" fmla="*/ 33 h 57"/>
                <a:gd name="T6" fmla="*/ 21 w 104"/>
                <a:gd name="T7" fmla="*/ 13 h 57"/>
                <a:gd name="T8" fmla="*/ 12 w 104"/>
                <a:gd name="T9" fmla="*/ 16 h 57"/>
                <a:gd name="T10" fmla="*/ 5 w 104"/>
                <a:gd name="T11" fmla="*/ 13 h 57"/>
                <a:gd name="T12" fmla="*/ 0 w 104"/>
                <a:gd name="T13" fmla="*/ 13 h 57"/>
                <a:gd name="T14" fmla="*/ 0 w 104"/>
                <a:gd name="T15" fmla="*/ 47 h 57"/>
                <a:gd name="T16" fmla="*/ 9 w 104"/>
                <a:gd name="T17" fmla="*/ 56 h 57"/>
                <a:gd name="T18" fmla="*/ 14 w 104"/>
                <a:gd name="T19" fmla="*/ 56 h 57"/>
                <a:gd name="T20" fmla="*/ 14 w 104"/>
                <a:gd name="T21" fmla="*/ 33 h 57"/>
                <a:gd name="T22" fmla="*/ 20 w 104"/>
                <a:gd name="T23" fmla="*/ 25 h 57"/>
                <a:gd name="T24" fmla="*/ 27 w 104"/>
                <a:gd name="T25" fmla="*/ 33 h 57"/>
                <a:gd name="T26" fmla="*/ 27 w 104"/>
                <a:gd name="T27" fmla="*/ 47 h 57"/>
                <a:gd name="T28" fmla="*/ 36 w 104"/>
                <a:gd name="T29" fmla="*/ 56 h 57"/>
                <a:gd name="T30" fmla="*/ 74 w 104"/>
                <a:gd name="T31" fmla="*/ 50 h 57"/>
                <a:gd name="T32" fmla="*/ 74 w 104"/>
                <a:gd name="T33" fmla="*/ 45 h 57"/>
                <a:gd name="T34" fmla="*/ 70 w 104"/>
                <a:gd name="T35" fmla="*/ 45 h 57"/>
                <a:gd name="T36" fmla="*/ 64 w 104"/>
                <a:gd name="T37" fmla="*/ 40 h 57"/>
                <a:gd name="T38" fmla="*/ 64 w 104"/>
                <a:gd name="T39" fmla="*/ 10 h 57"/>
                <a:gd name="T40" fmla="*/ 55 w 104"/>
                <a:gd name="T41" fmla="*/ 0 h 57"/>
                <a:gd name="T42" fmla="*/ 50 w 104"/>
                <a:gd name="T43" fmla="*/ 0 h 57"/>
                <a:gd name="T44" fmla="*/ 50 w 104"/>
                <a:gd name="T45" fmla="*/ 42 h 57"/>
                <a:gd name="T46" fmla="*/ 64 w 104"/>
                <a:gd name="T47" fmla="*/ 57 h 57"/>
                <a:gd name="T48" fmla="*/ 74 w 104"/>
                <a:gd name="T49" fmla="*/ 50 h 57"/>
                <a:gd name="T50" fmla="*/ 104 w 104"/>
                <a:gd name="T51" fmla="*/ 25 h 57"/>
                <a:gd name="T52" fmla="*/ 104 w 104"/>
                <a:gd name="T53" fmla="*/ 20 h 57"/>
                <a:gd name="T54" fmla="*/ 93 w 104"/>
                <a:gd name="T55" fmla="*/ 13 h 57"/>
                <a:gd name="T56" fmla="*/ 78 w 104"/>
                <a:gd name="T57" fmla="*/ 28 h 57"/>
                <a:gd name="T58" fmla="*/ 78 w 104"/>
                <a:gd name="T59" fmla="*/ 46 h 57"/>
                <a:gd name="T60" fmla="*/ 88 w 104"/>
                <a:gd name="T61" fmla="*/ 56 h 57"/>
                <a:gd name="T62" fmla="*/ 92 w 104"/>
                <a:gd name="T63" fmla="*/ 56 h 57"/>
                <a:gd name="T64" fmla="*/ 92 w 104"/>
                <a:gd name="T65" fmla="*/ 31 h 57"/>
                <a:gd name="T66" fmla="*/ 98 w 104"/>
                <a:gd name="T67" fmla="*/ 24 h 57"/>
                <a:gd name="T68" fmla="*/ 103 w 104"/>
                <a:gd name="T69" fmla="*/ 25 h 57"/>
                <a:gd name="T70" fmla="*/ 104 w 104"/>
                <a:gd name="T71"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7">
                  <a:moveTo>
                    <a:pt x="36" y="56"/>
                  </a:moveTo>
                  <a:cubicBezTo>
                    <a:pt x="42" y="56"/>
                    <a:pt x="42" y="56"/>
                    <a:pt x="42" y="56"/>
                  </a:cubicBezTo>
                  <a:cubicBezTo>
                    <a:pt x="42" y="33"/>
                    <a:pt x="42" y="33"/>
                    <a:pt x="42" y="33"/>
                  </a:cubicBezTo>
                  <a:cubicBezTo>
                    <a:pt x="42" y="21"/>
                    <a:pt x="36" y="12"/>
                    <a:pt x="21" y="13"/>
                  </a:cubicBezTo>
                  <a:cubicBezTo>
                    <a:pt x="17" y="13"/>
                    <a:pt x="12" y="16"/>
                    <a:pt x="12" y="16"/>
                  </a:cubicBezTo>
                  <a:cubicBezTo>
                    <a:pt x="10" y="14"/>
                    <a:pt x="8" y="13"/>
                    <a:pt x="5" y="13"/>
                  </a:cubicBezTo>
                  <a:cubicBezTo>
                    <a:pt x="0" y="13"/>
                    <a:pt x="0" y="13"/>
                    <a:pt x="0" y="13"/>
                  </a:cubicBezTo>
                  <a:cubicBezTo>
                    <a:pt x="0" y="47"/>
                    <a:pt x="0" y="47"/>
                    <a:pt x="0" y="47"/>
                  </a:cubicBezTo>
                  <a:cubicBezTo>
                    <a:pt x="0" y="53"/>
                    <a:pt x="3" y="56"/>
                    <a:pt x="9" y="56"/>
                  </a:cubicBezTo>
                  <a:cubicBezTo>
                    <a:pt x="14" y="56"/>
                    <a:pt x="14" y="56"/>
                    <a:pt x="14" y="56"/>
                  </a:cubicBezTo>
                  <a:cubicBezTo>
                    <a:pt x="14" y="33"/>
                    <a:pt x="14" y="33"/>
                    <a:pt x="14" y="33"/>
                  </a:cubicBezTo>
                  <a:cubicBezTo>
                    <a:pt x="14" y="27"/>
                    <a:pt x="16" y="25"/>
                    <a:pt x="20" y="25"/>
                  </a:cubicBezTo>
                  <a:cubicBezTo>
                    <a:pt x="25" y="25"/>
                    <a:pt x="27" y="27"/>
                    <a:pt x="27" y="33"/>
                  </a:cubicBezTo>
                  <a:cubicBezTo>
                    <a:pt x="27" y="47"/>
                    <a:pt x="27" y="47"/>
                    <a:pt x="27" y="47"/>
                  </a:cubicBezTo>
                  <a:cubicBezTo>
                    <a:pt x="27" y="54"/>
                    <a:pt x="29" y="56"/>
                    <a:pt x="36" y="56"/>
                  </a:cubicBezTo>
                  <a:moveTo>
                    <a:pt x="74" y="50"/>
                  </a:moveTo>
                  <a:cubicBezTo>
                    <a:pt x="74" y="45"/>
                    <a:pt x="74" y="45"/>
                    <a:pt x="74" y="45"/>
                  </a:cubicBezTo>
                  <a:cubicBezTo>
                    <a:pt x="70" y="45"/>
                    <a:pt x="70" y="45"/>
                    <a:pt x="70" y="45"/>
                  </a:cubicBezTo>
                  <a:cubicBezTo>
                    <a:pt x="66" y="45"/>
                    <a:pt x="64" y="44"/>
                    <a:pt x="64" y="40"/>
                  </a:cubicBezTo>
                  <a:cubicBezTo>
                    <a:pt x="64" y="10"/>
                    <a:pt x="64" y="10"/>
                    <a:pt x="64" y="10"/>
                  </a:cubicBezTo>
                  <a:cubicBezTo>
                    <a:pt x="64" y="3"/>
                    <a:pt x="61" y="0"/>
                    <a:pt x="55" y="0"/>
                  </a:cubicBezTo>
                  <a:cubicBezTo>
                    <a:pt x="50" y="0"/>
                    <a:pt x="50" y="0"/>
                    <a:pt x="50" y="0"/>
                  </a:cubicBezTo>
                  <a:cubicBezTo>
                    <a:pt x="50" y="42"/>
                    <a:pt x="50" y="42"/>
                    <a:pt x="50" y="42"/>
                  </a:cubicBezTo>
                  <a:cubicBezTo>
                    <a:pt x="50" y="52"/>
                    <a:pt x="56" y="57"/>
                    <a:pt x="64" y="57"/>
                  </a:cubicBezTo>
                  <a:cubicBezTo>
                    <a:pt x="69" y="57"/>
                    <a:pt x="74" y="55"/>
                    <a:pt x="74" y="50"/>
                  </a:cubicBezTo>
                  <a:moveTo>
                    <a:pt x="104" y="25"/>
                  </a:moveTo>
                  <a:cubicBezTo>
                    <a:pt x="104" y="20"/>
                    <a:pt x="104" y="20"/>
                    <a:pt x="104" y="20"/>
                  </a:cubicBezTo>
                  <a:cubicBezTo>
                    <a:pt x="104" y="16"/>
                    <a:pt x="100" y="13"/>
                    <a:pt x="93" y="13"/>
                  </a:cubicBezTo>
                  <a:cubicBezTo>
                    <a:pt x="84" y="13"/>
                    <a:pt x="78" y="20"/>
                    <a:pt x="78" y="28"/>
                  </a:cubicBezTo>
                  <a:cubicBezTo>
                    <a:pt x="78" y="46"/>
                    <a:pt x="78" y="46"/>
                    <a:pt x="78" y="46"/>
                  </a:cubicBezTo>
                  <a:cubicBezTo>
                    <a:pt x="78" y="53"/>
                    <a:pt x="82" y="56"/>
                    <a:pt x="88" y="56"/>
                  </a:cubicBezTo>
                  <a:cubicBezTo>
                    <a:pt x="92" y="56"/>
                    <a:pt x="92" y="56"/>
                    <a:pt x="92" y="56"/>
                  </a:cubicBezTo>
                  <a:cubicBezTo>
                    <a:pt x="92" y="31"/>
                    <a:pt x="92" y="31"/>
                    <a:pt x="92" y="31"/>
                  </a:cubicBezTo>
                  <a:cubicBezTo>
                    <a:pt x="92" y="26"/>
                    <a:pt x="95" y="24"/>
                    <a:pt x="98" y="24"/>
                  </a:cubicBezTo>
                  <a:cubicBezTo>
                    <a:pt x="100" y="24"/>
                    <a:pt x="102" y="24"/>
                    <a:pt x="103" y="25"/>
                  </a:cubicBezTo>
                  <a:lnTo>
                    <a:pt x="10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5"/>
            <p:cNvSpPr>
              <a:spLocks/>
            </p:cNvSpPr>
            <p:nvPr userDrawn="1"/>
          </p:nvSpPr>
          <p:spPr bwMode="auto">
            <a:xfrm>
              <a:off x="154" y="199"/>
              <a:ext cx="73" cy="13"/>
            </a:xfrm>
            <a:custGeom>
              <a:avLst/>
              <a:gdLst>
                <a:gd name="T0" fmla="*/ 44 w 45"/>
                <a:gd name="T1" fmla="*/ 1 h 8"/>
                <a:gd name="T2" fmla="*/ 43 w 45"/>
                <a:gd name="T3" fmla="*/ 0 h 8"/>
                <a:gd name="T4" fmla="*/ 2 w 45"/>
                <a:gd name="T5" fmla="*/ 0 h 8"/>
                <a:gd name="T6" fmla="*/ 1 w 45"/>
                <a:gd name="T7" fmla="*/ 1 h 8"/>
                <a:gd name="T8" fmla="*/ 1 w 45"/>
                <a:gd name="T9" fmla="*/ 2 h 8"/>
                <a:gd name="T10" fmla="*/ 2 w 45"/>
                <a:gd name="T11" fmla="*/ 7 h 8"/>
                <a:gd name="T12" fmla="*/ 3 w 45"/>
                <a:gd name="T13" fmla="*/ 8 h 8"/>
                <a:gd name="T14" fmla="*/ 42 w 45"/>
                <a:gd name="T15" fmla="*/ 8 h 8"/>
                <a:gd name="T16" fmla="*/ 43 w 45"/>
                <a:gd name="T17" fmla="*/ 7 h 8"/>
                <a:gd name="T18" fmla="*/ 45 w 45"/>
                <a:gd name="T19" fmla="*/ 2 h 8"/>
                <a:gd name="T20" fmla="*/ 44 w 45"/>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
                  <a:moveTo>
                    <a:pt x="44" y="1"/>
                  </a:moveTo>
                  <a:cubicBezTo>
                    <a:pt x="44" y="0"/>
                    <a:pt x="44" y="0"/>
                    <a:pt x="43" y="0"/>
                  </a:cubicBezTo>
                  <a:cubicBezTo>
                    <a:pt x="2" y="0"/>
                    <a:pt x="2" y="0"/>
                    <a:pt x="2" y="0"/>
                  </a:cubicBezTo>
                  <a:cubicBezTo>
                    <a:pt x="1" y="0"/>
                    <a:pt x="1" y="0"/>
                    <a:pt x="1" y="1"/>
                  </a:cubicBezTo>
                  <a:cubicBezTo>
                    <a:pt x="1" y="1"/>
                    <a:pt x="0" y="2"/>
                    <a:pt x="1" y="2"/>
                  </a:cubicBezTo>
                  <a:cubicBezTo>
                    <a:pt x="2" y="7"/>
                    <a:pt x="2" y="7"/>
                    <a:pt x="2" y="7"/>
                  </a:cubicBezTo>
                  <a:cubicBezTo>
                    <a:pt x="2" y="7"/>
                    <a:pt x="3" y="8"/>
                    <a:pt x="3" y="8"/>
                  </a:cubicBezTo>
                  <a:cubicBezTo>
                    <a:pt x="42" y="8"/>
                    <a:pt x="42" y="8"/>
                    <a:pt x="42" y="8"/>
                  </a:cubicBezTo>
                  <a:cubicBezTo>
                    <a:pt x="42" y="8"/>
                    <a:pt x="43" y="7"/>
                    <a:pt x="43" y="7"/>
                  </a:cubicBezTo>
                  <a:cubicBezTo>
                    <a:pt x="45" y="2"/>
                    <a:pt x="45" y="2"/>
                    <a:pt x="45" y="2"/>
                  </a:cubicBezTo>
                  <a:cubicBezTo>
                    <a:pt x="45" y="2"/>
                    <a:pt x="45" y="1"/>
                    <a:pt x="4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userDrawn="1"/>
          </p:nvSpPr>
          <p:spPr bwMode="auto">
            <a:xfrm>
              <a:off x="154" y="19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17"/>
            <p:cNvSpPr>
              <a:spLocks noChangeArrowheads="1"/>
            </p:cNvSpPr>
            <p:nvPr userDrawn="1"/>
          </p:nvSpPr>
          <p:spPr bwMode="auto">
            <a:xfrm>
              <a:off x="182" y="126"/>
              <a:ext cx="17" cy="1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 name="Title Placeholder 1">
            <a:extLst>
              <a:ext uri="{FF2B5EF4-FFF2-40B4-BE49-F238E27FC236}">
                <a16:creationId xmlns:a16="http://schemas.microsoft.com/office/drawing/2014/main" id="{02E51468-E8BE-4F7F-B8D4-BCBBA2F97234}"/>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65797042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4 Pictures dark blue">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bg1"/>
                </a:solidFill>
              </a:defRPr>
            </a:lvl1pPr>
          </a:lstStyle>
          <a:p>
            <a:r>
              <a:rPr lang="nl-NL"/>
              <a:t>Onregelmatig Werk en Gezondheid: "Lessen" uit de Luchtvaartsector</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015EBE98-414E-493A-9124-68D86CEA4F8A}" type="slidenum">
              <a:rPr lang="nl-NL" smtClean="0"/>
              <a:pPr/>
              <a:t>‹#›</a:t>
            </a:fld>
            <a:endParaRPr lang="nl-NL" dirty="0"/>
          </a:p>
        </p:txBody>
      </p:sp>
      <p:sp>
        <p:nvSpPr>
          <p:cNvPr id="6" name="Picture Placeholder 2"/>
          <p:cNvSpPr>
            <a:spLocks noGrp="1"/>
          </p:cNvSpPr>
          <p:nvPr>
            <p:ph type="pic" idx="1"/>
          </p:nvPr>
        </p:nvSpPr>
        <p:spPr>
          <a:xfrm>
            <a:off x="681054" y="1029600"/>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7" name="Picture Placeholder 2"/>
          <p:cNvSpPr>
            <a:spLocks noGrp="1"/>
          </p:cNvSpPr>
          <p:nvPr>
            <p:ph type="pic" idx="13"/>
          </p:nvPr>
        </p:nvSpPr>
        <p:spPr>
          <a:xfrm>
            <a:off x="4898125" y="1029600"/>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8" name="Picture Placeholder 2"/>
          <p:cNvSpPr>
            <a:spLocks noGrp="1"/>
          </p:cNvSpPr>
          <p:nvPr>
            <p:ph type="pic" idx="14"/>
          </p:nvPr>
        </p:nvSpPr>
        <p:spPr>
          <a:xfrm>
            <a:off x="681692" y="2809181"/>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9" name="Picture Placeholder 2"/>
          <p:cNvSpPr>
            <a:spLocks noGrp="1"/>
          </p:cNvSpPr>
          <p:nvPr>
            <p:ph type="pic" idx="15"/>
          </p:nvPr>
        </p:nvSpPr>
        <p:spPr>
          <a:xfrm>
            <a:off x="4898125" y="2809181"/>
            <a:ext cx="3772800" cy="1416768"/>
          </a:xfrm>
          <a:custGeom>
            <a:avLst/>
            <a:gdLst>
              <a:gd name="connsiteX0" fmla="*/ 262370 w 3772800"/>
              <a:gd name="connsiteY0" fmla="*/ 0 h 1574187"/>
              <a:gd name="connsiteX1" fmla="*/ 3772800 w 3772800"/>
              <a:gd name="connsiteY1" fmla="*/ 0 h 1574187"/>
              <a:gd name="connsiteX2" fmla="*/ 3772800 w 3772800"/>
              <a:gd name="connsiteY2" fmla="*/ 0 h 1574187"/>
              <a:gd name="connsiteX3" fmla="*/ 3772800 w 3772800"/>
              <a:gd name="connsiteY3" fmla="*/ 1311817 h 1574187"/>
              <a:gd name="connsiteX4" fmla="*/ 3510430 w 3772800"/>
              <a:gd name="connsiteY4" fmla="*/ 1574187 h 1574187"/>
              <a:gd name="connsiteX5" fmla="*/ 0 w 3772800"/>
              <a:gd name="connsiteY5" fmla="*/ 1574187 h 1574187"/>
              <a:gd name="connsiteX6" fmla="*/ 0 w 3772800"/>
              <a:gd name="connsiteY6" fmla="*/ 1574187 h 1574187"/>
              <a:gd name="connsiteX7" fmla="*/ 0 w 3772800"/>
              <a:gd name="connsiteY7" fmla="*/ 262370 h 1574187"/>
              <a:gd name="connsiteX8" fmla="*/ 262370 w 3772800"/>
              <a:gd name="connsiteY8" fmla="*/ 0 h 1574187"/>
              <a:gd name="connsiteX0" fmla="*/ 64513 w 3836881"/>
              <a:gd name="connsiteY0" fmla="*/ 0 h 1574187"/>
              <a:gd name="connsiteX1" fmla="*/ 3836881 w 3836881"/>
              <a:gd name="connsiteY1" fmla="*/ 0 h 1574187"/>
              <a:gd name="connsiteX2" fmla="*/ 3836881 w 3836881"/>
              <a:gd name="connsiteY2" fmla="*/ 0 h 1574187"/>
              <a:gd name="connsiteX3" fmla="*/ 3836881 w 3836881"/>
              <a:gd name="connsiteY3" fmla="*/ 1311817 h 1574187"/>
              <a:gd name="connsiteX4" fmla="*/ 3574511 w 3836881"/>
              <a:gd name="connsiteY4" fmla="*/ 1574187 h 1574187"/>
              <a:gd name="connsiteX5" fmla="*/ 64081 w 3836881"/>
              <a:gd name="connsiteY5" fmla="*/ 1574187 h 1574187"/>
              <a:gd name="connsiteX6" fmla="*/ 64081 w 3836881"/>
              <a:gd name="connsiteY6" fmla="*/ 1574187 h 1574187"/>
              <a:gd name="connsiteX7" fmla="*/ 64081 w 3836881"/>
              <a:gd name="connsiteY7" fmla="*/ 262370 h 1574187"/>
              <a:gd name="connsiteX8" fmla="*/ 64513 w 3836881"/>
              <a:gd name="connsiteY8" fmla="*/ 0 h 1574187"/>
              <a:gd name="connsiteX0" fmla="*/ 432 w 3772800"/>
              <a:gd name="connsiteY0" fmla="*/ 0 h 1574187"/>
              <a:gd name="connsiteX1" fmla="*/ 3772800 w 3772800"/>
              <a:gd name="connsiteY1" fmla="*/ 0 h 1574187"/>
              <a:gd name="connsiteX2" fmla="*/ 3772800 w 3772800"/>
              <a:gd name="connsiteY2" fmla="*/ 0 h 1574187"/>
              <a:gd name="connsiteX3" fmla="*/ 3772800 w 3772800"/>
              <a:gd name="connsiteY3" fmla="*/ 1311817 h 1574187"/>
              <a:gd name="connsiteX4" fmla="*/ 3510430 w 3772800"/>
              <a:gd name="connsiteY4" fmla="*/ 1574187 h 1574187"/>
              <a:gd name="connsiteX5" fmla="*/ 0 w 3772800"/>
              <a:gd name="connsiteY5" fmla="*/ 1574187 h 1574187"/>
              <a:gd name="connsiteX6" fmla="*/ 0 w 3772800"/>
              <a:gd name="connsiteY6" fmla="*/ 1574187 h 1574187"/>
              <a:gd name="connsiteX7" fmla="*/ 0 w 3772800"/>
              <a:gd name="connsiteY7" fmla="*/ 262370 h 1574187"/>
              <a:gd name="connsiteX8" fmla="*/ 432 w 3772800"/>
              <a:gd name="connsiteY8" fmla="*/ 0 h 157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2800" h="1574187">
                <a:moveTo>
                  <a:pt x="432" y="0"/>
                </a:moveTo>
                <a:lnTo>
                  <a:pt x="3772800" y="0"/>
                </a:lnTo>
                <a:lnTo>
                  <a:pt x="3772800" y="0"/>
                </a:lnTo>
                <a:lnTo>
                  <a:pt x="3772800" y="1311817"/>
                </a:lnTo>
                <a:cubicBezTo>
                  <a:pt x="3772800" y="1456720"/>
                  <a:pt x="3655333" y="1574187"/>
                  <a:pt x="3510430" y="1574187"/>
                </a:cubicBezTo>
                <a:lnTo>
                  <a:pt x="0" y="1574187"/>
                </a:lnTo>
                <a:lnTo>
                  <a:pt x="0" y="1574187"/>
                </a:lnTo>
                <a:lnTo>
                  <a:pt x="0" y="262370"/>
                </a:lnTo>
                <a:cubicBezTo>
                  <a:pt x="0" y="117467"/>
                  <a:pt x="216" y="131185"/>
                  <a:pt x="432" y="0"/>
                </a:cubicBezTo>
                <a:close/>
              </a:path>
            </a:pathLst>
          </a:cu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0" name="Text Placeholder 2"/>
          <p:cNvSpPr>
            <a:spLocks noGrp="1"/>
          </p:cNvSpPr>
          <p:nvPr>
            <p:ph type="body" idx="16" hasCustomPrompt="1"/>
          </p:nvPr>
        </p:nvSpPr>
        <p:spPr>
          <a:xfrm>
            <a:off x="681038" y="2444192"/>
            <a:ext cx="37728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1" name="Text Placeholder 2"/>
          <p:cNvSpPr>
            <a:spLocks noGrp="1"/>
          </p:cNvSpPr>
          <p:nvPr>
            <p:ph type="body" idx="17" hasCustomPrompt="1"/>
          </p:nvPr>
        </p:nvSpPr>
        <p:spPr>
          <a:xfrm>
            <a:off x="4898125" y="2448494"/>
            <a:ext cx="37728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2" name="Text Placeholder 2"/>
          <p:cNvSpPr>
            <a:spLocks noGrp="1"/>
          </p:cNvSpPr>
          <p:nvPr>
            <p:ph type="body" idx="18" hasCustomPrompt="1"/>
          </p:nvPr>
        </p:nvSpPr>
        <p:spPr>
          <a:xfrm>
            <a:off x="681692" y="4221596"/>
            <a:ext cx="37728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3" name="Text Placeholder 2"/>
          <p:cNvSpPr>
            <a:spLocks noGrp="1"/>
          </p:cNvSpPr>
          <p:nvPr>
            <p:ph type="body" idx="19" hasCustomPrompt="1"/>
          </p:nvPr>
        </p:nvSpPr>
        <p:spPr>
          <a:xfrm>
            <a:off x="4898125" y="4221596"/>
            <a:ext cx="3772800" cy="246240"/>
          </a:xfrm>
          <a:prstGeom prst="rect">
            <a:avLst/>
          </a:prstGeom>
          <a:noFill/>
          <a:ln>
            <a:noFill/>
          </a:ln>
        </p:spPr>
        <p:txBody>
          <a:bodyPr lIns="0" rIns="90000" anchor="t" anchorCtr="0"/>
          <a:lstStyle>
            <a:lvl1pPr marL="0" indent="0">
              <a:buNone/>
              <a:defRPr sz="14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cxnSp>
        <p:nvCxnSpPr>
          <p:cNvPr id="21" name="Straight Connector 20"/>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2" name="Group 4"/>
          <p:cNvGrpSpPr>
            <a:grpSpLocks noChangeAspect="1"/>
          </p:cNvGrpSpPr>
          <p:nvPr userDrawn="1"/>
        </p:nvGrpSpPr>
        <p:grpSpPr bwMode="auto">
          <a:xfrm>
            <a:off x="146050" y="128588"/>
            <a:ext cx="473075" cy="609600"/>
            <a:chOff x="92" y="81"/>
            <a:chExt cx="298" cy="384"/>
          </a:xfrm>
        </p:grpSpPr>
        <p:sp>
          <p:nvSpPr>
            <p:cNvPr id="23" name="AutoShape 3"/>
            <p:cNvSpPr>
              <a:spLocks noChangeAspect="1" noChangeArrowheads="1" noTextEdit="1"/>
            </p:cNvSpPr>
            <p:nvPr userDrawn="1"/>
          </p:nvSpPr>
          <p:spPr bwMode="auto">
            <a:xfrm>
              <a:off x="92" y="81"/>
              <a:ext cx="298"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
            <p:cNvSpPr>
              <a:spLocks/>
            </p:cNvSpPr>
            <p:nvPr userDrawn="1"/>
          </p:nvSpPr>
          <p:spPr bwMode="auto">
            <a:xfrm>
              <a:off x="273" y="78"/>
              <a:ext cx="82" cy="64"/>
            </a:xfrm>
            <a:custGeom>
              <a:avLst/>
              <a:gdLst>
                <a:gd name="T0" fmla="*/ 4 w 51"/>
                <a:gd name="T1" fmla="*/ 20 h 40"/>
                <a:gd name="T2" fmla="*/ 11 w 51"/>
                <a:gd name="T3" fmla="*/ 26 h 40"/>
                <a:gd name="T4" fmla="*/ 12 w 51"/>
                <a:gd name="T5" fmla="*/ 35 h 40"/>
                <a:gd name="T6" fmla="*/ 14 w 51"/>
                <a:gd name="T7" fmla="*/ 40 h 40"/>
                <a:gd name="T8" fmla="*/ 15 w 51"/>
                <a:gd name="T9" fmla="*/ 40 h 40"/>
                <a:gd name="T10" fmla="*/ 23 w 51"/>
                <a:gd name="T11" fmla="*/ 25 h 40"/>
                <a:gd name="T12" fmla="*/ 46 w 51"/>
                <a:gd name="T13" fmla="*/ 8 h 40"/>
                <a:gd name="T14" fmla="*/ 50 w 51"/>
                <a:gd name="T15" fmla="*/ 2 h 40"/>
                <a:gd name="T16" fmla="*/ 42 w 51"/>
                <a:gd name="T17" fmla="*/ 3 h 40"/>
                <a:gd name="T18" fmla="*/ 16 w 51"/>
                <a:gd name="T19" fmla="*/ 16 h 40"/>
                <a:gd name="T20" fmla="*/ 1 w 51"/>
                <a:gd name="T21" fmla="*/ 17 h 40"/>
                <a:gd name="T22" fmla="*/ 1 w 51"/>
                <a:gd name="T23" fmla="*/ 18 h 40"/>
                <a:gd name="T24" fmla="*/ 3 w 51"/>
                <a:gd name="T25" fmla="*/ 22 h 40"/>
                <a:gd name="T26" fmla="*/ 4 w 51"/>
                <a:gd name="T2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0">
                  <a:moveTo>
                    <a:pt x="4" y="20"/>
                  </a:moveTo>
                  <a:cubicBezTo>
                    <a:pt x="6" y="19"/>
                    <a:pt x="9" y="22"/>
                    <a:pt x="11" y="26"/>
                  </a:cubicBezTo>
                  <a:cubicBezTo>
                    <a:pt x="13" y="30"/>
                    <a:pt x="13" y="34"/>
                    <a:pt x="12" y="35"/>
                  </a:cubicBezTo>
                  <a:cubicBezTo>
                    <a:pt x="12" y="35"/>
                    <a:pt x="14" y="39"/>
                    <a:pt x="14" y="40"/>
                  </a:cubicBezTo>
                  <a:cubicBezTo>
                    <a:pt x="15" y="40"/>
                    <a:pt x="15" y="40"/>
                    <a:pt x="15" y="40"/>
                  </a:cubicBezTo>
                  <a:cubicBezTo>
                    <a:pt x="15" y="39"/>
                    <a:pt x="23" y="25"/>
                    <a:pt x="23" y="25"/>
                  </a:cubicBezTo>
                  <a:cubicBezTo>
                    <a:pt x="23" y="25"/>
                    <a:pt x="45" y="10"/>
                    <a:pt x="46" y="8"/>
                  </a:cubicBezTo>
                  <a:cubicBezTo>
                    <a:pt x="48" y="7"/>
                    <a:pt x="51" y="3"/>
                    <a:pt x="50" y="2"/>
                  </a:cubicBezTo>
                  <a:cubicBezTo>
                    <a:pt x="49" y="0"/>
                    <a:pt x="42" y="3"/>
                    <a:pt x="42" y="3"/>
                  </a:cubicBezTo>
                  <a:cubicBezTo>
                    <a:pt x="16" y="16"/>
                    <a:pt x="16" y="16"/>
                    <a:pt x="16" y="16"/>
                  </a:cubicBezTo>
                  <a:cubicBezTo>
                    <a:pt x="16" y="16"/>
                    <a:pt x="2" y="17"/>
                    <a:pt x="1" y="17"/>
                  </a:cubicBezTo>
                  <a:cubicBezTo>
                    <a:pt x="0" y="17"/>
                    <a:pt x="1" y="18"/>
                    <a:pt x="1" y="18"/>
                  </a:cubicBezTo>
                  <a:cubicBezTo>
                    <a:pt x="3" y="22"/>
                    <a:pt x="3" y="22"/>
                    <a:pt x="3" y="22"/>
                  </a:cubicBezTo>
                  <a:cubicBezTo>
                    <a:pt x="3" y="21"/>
                    <a:pt x="4" y="20"/>
                    <a:pt x="4"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p:cNvSpPr>
            <p:nvPr userDrawn="1"/>
          </p:nvSpPr>
          <p:spPr bwMode="auto">
            <a:xfrm>
              <a:off x="275" y="116"/>
              <a:ext cx="11" cy="19"/>
            </a:xfrm>
            <a:custGeom>
              <a:avLst/>
              <a:gdLst>
                <a:gd name="T0" fmla="*/ 5 w 7"/>
                <a:gd name="T1" fmla="*/ 5 h 12"/>
                <a:gd name="T2" fmla="*/ 1 w 7"/>
                <a:gd name="T3" fmla="*/ 1 h 12"/>
                <a:gd name="T4" fmla="*/ 1 w 7"/>
                <a:gd name="T5" fmla="*/ 8 h 12"/>
                <a:gd name="T6" fmla="*/ 5 w 7"/>
                <a:gd name="T7" fmla="*/ 12 h 12"/>
                <a:gd name="T8" fmla="*/ 5 w 7"/>
                <a:gd name="T9" fmla="*/ 5 h 12"/>
              </a:gdLst>
              <a:ahLst/>
              <a:cxnLst>
                <a:cxn ang="0">
                  <a:pos x="T0" y="T1"/>
                </a:cxn>
                <a:cxn ang="0">
                  <a:pos x="T2" y="T3"/>
                </a:cxn>
                <a:cxn ang="0">
                  <a:pos x="T4" y="T5"/>
                </a:cxn>
                <a:cxn ang="0">
                  <a:pos x="T6" y="T7"/>
                </a:cxn>
                <a:cxn ang="0">
                  <a:pos x="T8" y="T9"/>
                </a:cxn>
              </a:cxnLst>
              <a:rect l="0" t="0" r="r" b="b"/>
              <a:pathLst>
                <a:path w="7" h="12">
                  <a:moveTo>
                    <a:pt x="5" y="5"/>
                  </a:moveTo>
                  <a:cubicBezTo>
                    <a:pt x="4" y="2"/>
                    <a:pt x="2" y="0"/>
                    <a:pt x="1" y="1"/>
                  </a:cubicBezTo>
                  <a:cubicBezTo>
                    <a:pt x="0" y="2"/>
                    <a:pt x="0" y="5"/>
                    <a:pt x="1" y="8"/>
                  </a:cubicBezTo>
                  <a:cubicBezTo>
                    <a:pt x="2" y="11"/>
                    <a:pt x="4" y="12"/>
                    <a:pt x="5" y="12"/>
                  </a:cubicBezTo>
                  <a:cubicBezTo>
                    <a:pt x="7" y="11"/>
                    <a:pt x="7" y="8"/>
                    <a:pt x="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p:cNvSpPr>
            <p:nvPr userDrawn="1"/>
          </p:nvSpPr>
          <p:spPr bwMode="auto">
            <a:xfrm>
              <a:off x="122" y="391"/>
              <a:ext cx="101" cy="80"/>
            </a:xfrm>
            <a:custGeom>
              <a:avLst/>
              <a:gdLst>
                <a:gd name="T0" fmla="*/ 63 w 63"/>
                <a:gd name="T1" fmla="*/ 34 h 50"/>
                <a:gd name="T2" fmla="*/ 34 w 63"/>
                <a:gd name="T3" fmla="*/ 31 h 50"/>
                <a:gd name="T4" fmla="*/ 34 w 63"/>
                <a:gd name="T5" fmla="*/ 31 h 50"/>
                <a:gd name="T6" fmla="*/ 47 w 63"/>
                <a:gd name="T7" fmla="*/ 20 h 50"/>
                <a:gd name="T8" fmla="*/ 47 w 63"/>
                <a:gd name="T9" fmla="*/ 20 h 50"/>
                <a:gd name="T10" fmla="*/ 56 w 63"/>
                <a:gd name="T11" fmla="*/ 21 h 50"/>
                <a:gd name="T12" fmla="*/ 57 w 63"/>
                <a:gd name="T13" fmla="*/ 20 h 50"/>
                <a:gd name="T14" fmla="*/ 59 w 63"/>
                <a:gd name="T15" fmla="*/ 19 h 50"/>
                <a:gd name="T16" fmla="*/ 59 w 63"/>
                <a:gd name="T17" fmla="*/ 19 h 50"/>
                <a:gd name="T18" fmla="*/ 50 w 63"/>
                <a:gd name="T19" fmla="*/ 16 h 50"/>
                <a:gd name="T20" fmla="*/ 50 w 63"/>
                <a:gd name="T21" fmla="*/ 16 h 50"/>
                <a:gd name="T22" fmla="*/ 50 w 63"/>
                <a:gd name="T23" fmla="*/ 0 h 50"/>
                <a:gd name="T24" fmla="*/ 49 w 63"/>
                <a:gd name="T25" fmla="*/ 0 h 50"/>
                <a:gd name="T26" fmla="*/ 47 w 63"/>
                <a:gd name="T27" fmla="*/ 1 h 50"/>
                <a:gd name="T28" fmla="*/ 47 w 63"/>
                <a:gd name="T29" fmla="*/ 2 h 50"/>
                <a:gd name="T30" fmla="*/ 43 w 63"/>
                <a:gd name="T31" fmla="*/ 14 h 50"/>
                <a:gd name="T32" fmla="*/ 43 w 63"/>
                <a:gd name="T33" fmla="*/ 14 h 50"/>
                <a:gd name="T34" fmla="*/ 39 w 63"/>
                <a:gd name="T35" fmla="*/ 13 h 50"/>
                <a:gd name="T36" fmla="*/ 38 w 63"/>
                <a:gd name="T37" fmla="*/ 13 h 50"/>
                <a:gd name="T38" fmla="*/ 37 w 63"/>
                <a:gd name="T39" fmla="*/ 14 h 50"/>
                <a:gd name="T40" fmla="*/ 36 w 63"/>
                <a:gd name="T41" fmla="*/ 14 h 50"/>
                <a:gd name="T42" fmla="*/ 40 w 63"/>
                <a:gd name="T43" fmla="*/ 18 h 50"/>
                <a:gd name="T44" fmla="*/ 40 w 63"/>
                <a:gd name="T45" fmla="*/ 18 h 50"/>
                <a:gd name="T46" fmla="*/ 23 w 63"/>
                <a:gd name="T47" fmla="*/ 27 h 50"/>
                <a:gd name="T48" fmla="*/ 23 w 63"/>
                <a:gd name="T49" fmla="*/ 27 h 50"/>
                <a:gd name="T50" fmla="*/ 9 w 63"/>
                <a:gd name="T51" fmla="*/ 17 h 50"/>
                <a:gd name="T52" fmla="*/ 8 w 63"/>
                <a:gd name="T53" fmla="*/ 17 h 50"/>
                <a:gd name="T54" fmla="*/ 6 w 63"/>
                <a:gd name="T55" fmla="*/ 18 h 50"/>
                <a:gd name="T56" fmla="*/ 6 w 63"/>
                <a:gd name="T57" fmla="*/ 18 h 50"/>
                <a:gd name="T58" fmla="*/ 13 w 63"/>
                <a:gd name="T59" fmla="*/ 32 h 50"/>
                <a:gd name="T60" fmla="*/ 12 w 63"/>
                <a:gd name="T61" fmla="*/ 32 h 50"/>
                <a:gd name="T62" fmla="*/ 3 w 63"/>
                <a:gd name="T63" fmla="*/ 39 h 50"/>
                <a:gd name="T64" fmla="*/ 0 w 63"/>
                <a:gd name="T65" fmla="*/ 46 h 50"/>
                <a:gd name="T66" fmla="*/ 25 w 63"/>
                <a:gd name="T67" fmla="*/ 37 h 50"/>
                <a:gd name="T68" fmla="*/ 25 w 63"/>
                <a:gd name="T69" fmla="*/ 36 h 50"/>
                <a:gd name="T70" fmla="*/ 60 w 63"/>
                <a:gd name="T71" fmla="*/ 36 h 50"/>
                <a:gd name="T72" fmla="*/ 61 w 63"/>
                <a:gd name="T73" fmla="*/ 36 h 50"/>
                <a:gd name="T74" fmla="*/ 63 w 63"/>
                <a:gd name="T75" fmla="*/ 35 h 50"/>
                <a:gd name="T76" fmla="*/ 63 w 63"/>
                <a:gd name="T77"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50">
                  <a:moveTo>
                    <a:pt x="63" y="34"/>
                  </a:moveTo>
                  <a:cubicBezTo>
                    <a:pt x="34" y="31"/>
                    <a:pt x="34" y="31"/>
                    <a:pt x="34" y="31"/>
                  </a:cubicBezTo>
                  <a:cubicBezTo>
                    <a:pt x="34" y="31"/>
                    <a:pt x="33" y="31"/>
                    <a:pt x="34" y="31"/>
                  </a:cubicBezTo>
                  <a:cubicBezTo>
                    <a:pt x="34" y="30"/>
                    <a:pt x="47" y="20"/>
                    <a:pt x="47" y="20"/>
                  </a:cubicBezTo>
                  <a:cubicBezTo>
                    <a:pt x="47" y="20"/>
                    <a:pt x="47" y="20"/>
                    <a:pt x="47" y="20"/>
                  </a:cubicBezTo>
                  <a:cubicBezTo>
                    <a:pt x="48" y="20"/>
                    <a:pt x="54" y="21"/>
                    <a:pt x="56" y="21"/>
                  </a:cubicBezTo>
                  <a:cubicBezTo>
                    <a:pt x="56" y="21"/>
                    <a:pt x="57" y="20"/>
                    <a:pt x="57" y="20"/>
                  </a:cubicBezTo>
                  <a:cubicBezTo>
                    <a:pt x="57" y="20"/>
                    <a:pt x="58" y="20"/>
                    <a:pt x="59" y="19"/>
                  </a:cubicBezTo>
                  <a:cubicBezTo>
                    <a:pt x="59" y="19"/>
                    <a:pt x="59" y="19"/>
                    <a:pt x="59" y="19"/>
                  </a:cubicBezTo>
                  <a:cubicBezTo>
                    <a:pt x="59" y="19"/>
                    <a:pt x="51" y="17"/>
                    <a:pt x="50" y="16"/>
                  </a:cubicBezTo>
                  <a:cubicBezTo>
                    <a:pt x="50" y="16"/>
                    <a:pt x="50" y="16"/>
                    <a:pt x="50" y="16"/>
                  </a:cubicBezTo>
                  <a:cubicBezTo>
                    <a:pt x="50" y="14"/>
                    <a:pt x="50" y="1"/>
                    <a:pt x="50" y="0"/>
                  </a:cubicBezTo>
                  <a:cubicBezTo>
                    <a:pt x="50" y="0"/>
                    <a:pt x="49" y="0"/>
                    <a:pt x="49" y="0"/>
                  </a:cubicBezTo>
                  <a:cubicBezTo>
                    <a:pt x="49" y="0"/>
                    <a:pt x="48" y="1"/>
                    <a:pt x="47" y="1"/>
                  </a:cubicBezTo>
                  <a:cubicBezTo>
                    <a:pt x="47" y="1"/>
                    <a:pt x="47" y="2"/>
                    <a:pt x="47" y="2"/>
                  </a:cubicBezTo>
                  <a:cubicBezTo>
                    <a:pt x="46" y="3"/>
                    <a:pt x="43" y="13"/>
                    <a:pt x="43" y="14"/>
                  </a:cubicBezTo>
                  <a:cubicBezTo>
                    <a:pt x="43" y="14"/>
                    <a:pt x="43" y="14"/>
                    <a:pt x="43" y="14"/>
                  </a:cubicBezTo>
                  <a:cubicBezTo>
                    <a:pt x="42" y="14"/>
                    <a:pt x="40" y="13"/>
                    <a:pt x="39" y="13"/>
                  </a:cubicBezTo>
                  <a:cubicBezTo>
                    <a:pt x="39" y="13"/>
                    <a:pt x="39" y="13"/>
                    <a:pt x="38" y="13"/>
                  </a:cubicBezTo>
                  <a:cubicBezTo>
                    <a:pt x="38" y="13"/>
                    <a:pt x="37" y="13"/>
                    <a:pt x="37" y="14"/>
                  </a:cubicBezTo>
                  <a:cubicBezTo>
                    <a:pt x="36" y="14"/>
                    <a:pt x="36" y="14"/>
                    <a:pt x="36" y="14"/>
                  </a:cubicBezTo>
                  <a:cubicBezTo>
                    <a:pt x="37" y="14"/>
                    <a:pt x="40" y="18"/>
                    <a:pt x="40" y="18"/>
                  </a:cubicBezTo>
                  <a:cubicBezTo>
                    <a:pt x="40" y="18"/>
                    <a:pt x="40" y="18"/>
                    <a:pt x="40" y="18"/>
                  </a:cubicBezTo>
                  <a:cubicBezTo>
                    <a:pt x="23" y="27"/>
                    <a:pt x="23" y="27"/>
                    <a:pt x="23" y="27"/>
                  </a:cubicBezTo>
                  <a:cubicBezTo>
                    <a:pt x="23" y="27"/>
                    <a:pt x="23" y="27"/>
                    <a:pt x="23" y="27"/>
                  </a:cubicBezTo>
                  <a:cubicBezTo>
                    <a:pt x="22" y="26"/>
                    <a:pt x="10" y="18"/>
                    <a:pt x="9" y="17"/>
                  </a:cubicBezTo>
                  <a:cubicBezTo>
                    <a:pt x="9" y="17"/>
                    <a:pt x="9" y="17"/>
                    <a:pt x="8" y="17"/>
                  </a:cubicBezTo>
                  <a:cubicBezTo>
                    <a:pt x="8" y="17"/>
                    <a:pt x="7" y="17"/>
                    <a:pt x="6" y="18"/>
                  </a:cubicBezTo>
                  <a:cubicBezTo>
                    <a:pt x="6" y="18"/>
                    <a:pt x="6" y="18"/>
                    <a:pt x="6" y="18"/>
                  </a:cubicBezTo>
                  <a:cubicBezTo>
                    <a:pt x="6" y="18"/>
                    <a:pt x="13" y="32"/>
                    <a:pt x="13" y="32"/>
                  </a:cubicBezTo>
                  <a:cubicBezTo>
                    <a:pt x="13" y="32"/>
                    <a:pt x="13" y="32"/>
                    <a:pt x="12" y="32"/>
                  </a:cubicBezTo>
                  <a:cubicBezTo>
                    <a:pt x="11" y="33"/>
                    <a:pt x="3" y="36"/>
                    <a:pt x="3" y="39"/>
                  </a:cubicBezTo>
                  <a:cubicBezTo>
                    <a:pt x="2" y="40"/>
                    <a:pt x="0" y="44"/>
                    <a:pt x="0" y="46"/>
                  </a:cubicBezTo>
                  <a:cubicBezTo>
                    <a:pt x="1" y="50"/>
                    <a:pt x="22" y="38"/>
                    <a:pt x="25" y="37"/>
                  </a:cubicBezTo>
                  <a:cubicBezTo>
                    <a:pt x="25" y="36"/>
                    <a:pt x="25" y="36"/>
                    <a:pt x="25" y="36"/>
                  </a:cubicBezTo>
                  <a:cubicBezTo>
                    <a:pt x="29" y="36"/>
                    <a:pt x="58" y="36"/>
                    <a:pt x="60" y="36"/>
                  </a:cubicBezTo>
                  <a:cubicBezTo>
                    <a:pt x="61" y="36"/>
                    <a:pt x="61" y="36"/>
                    <a:pt x="61" y="36"/>
                  </a:cubicBezTo>
                  <a:cubicBezTo>
                    <a:pt x="61" y="36"/>
                    <a:pt x="62" y="35"/>
                    <a:pt x="63" y="35"/>
                  </a:cubicBezTo>
                  <a:cubicBezTo>
                    <a:pt x="63" y="34"/>
                    <a:pt x="63" y="34"/>
                    <a:pt x="63" y="3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94" y="199"/>
              <a:ext cx="145" cy="160"/>
            </a:xfrm>
            <a:custGeom>
              <a:avLst/>
              <a:gdLst>
                <a:gd name="T0" fmla="*/ 89 w 91"/>
                <a:gd name="T1" fmla="*/ 89 h 100"/>
                <a:gd name="T2" fmla="*/ 15 w 91"/>
                <a:gd name="T3" fmla="*/ 38 h 100"/>
                <a:gd name="T4" fmla="*/ 29 w 91"/>
                <a:gd name="T5" fmla="*/ 12 h 100"/>
                <a:gd name="T6" fmla="*/ 30 w 91"/>
                <a:gd name="T7" fmla="*/ 11 h 100"/>
                <a:gd name="T8" fmla="*/ 30 w 91"/>
                <a:gd name="T9" fmla="*/ 1 h 100"/>
                <a:gd name="T10" fmla="*/ 28 w 91"/>
                <a:gd name="T11" fmla="*/ 0 h 100"/>
                <a:gd name="T12" fmla="*/ 14 w 91"/>
                <a:gd name="T13" fmla="*/ 10 h 100"/>
                <a:gd name="T14" fmla="*/ 0 w 91"/>
                <a:gd name="T15" fmla="*/ 39 h 100"/>
                <a:gd name="T16" fmla="*/ 71 w 91"/>
                <a:gd name="T17" fmla="*/ 100 h 100"/>
                <a:gd name="T18" fmla="*/ 75 w 91"/>
                <a:gd name="T19" fmla="*/ 100 h 100"/>
                <a:gd name="T20" fmla="*/ 90 w 91"/>
                <a:gd name="T21" fmla="*/ 91 h 100"/>
                <a:gd name="T22" fmla="*/ 89 w 91"/>
                <a:gd name="T23"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00">
                  <a:moveTo>
                    <a:pt x="89" y="89"/>
                  </a:moveTo>
                  <a:cubicBezTo>
                    <a:pt x="48" y="85"/>
                    <a:pt x="15" y="64"/>
                    <a:pt x="15" y="38"/>
                  </a:cubicBezTo>
                  <a:cubicBezTo>
                    <a:pt x="15" y="28"/>
                    <a:pt x="20" y="20"/>
                    <a:pt x="29" y="12"/>
                  </a:cubicBezTo>
                  <a:cubicBezTo>
                    <a:pt x="29" y="12"/>
                    <a:pt x="30" y="11"/>
                    <a:pt x="30" y="11"/>
                  </a:cubicBezTo>
                  <a:cubicBezTo>
                    <a:pt x="30" y="1"/>
                    <a:pt x="30" y="1"/>
                    <a:pt x="30" y="1"/>
                  </a:cubicBezTo>
                  <a:cubicBezTo>
                    <a:pt x="30" y="0"/>
                    <a:pt x="29" y="0"/>
                    <a:pt x="28" y="0"/>
                  </a:cubicBezTo>
                  <a:cubicBezTo>
                    <a:pt x="22" y="4"/>
                    <a:pt x="17" y="8"/>
                    <a:pt x="14" y="10"/>
                  </a:cubicBezTo>
                  <a:cubicBezTo>
                    <a:pt x="3" y="21"/>
                    <a:pt x="0" y="28"/>
                    <a:pt x="0" y="39"/>
                  </a:cubicBezTo>
                  <a:cubicBezTo>
                    <a:pt x="0" y="67"/>
                    <a:pt x="30" y="93"/>
                    <a:pt x="71" y="100"/>
                  </a:cubicBezTo>
                  <a:cubicBezTo>
                    <a:pt x="73" y="100"/>
                    <a:pt x="74" y="100"/>
                    <a:pt x="75" y="100"/>
                  </a:cubicBezTo>
                  <a:cubicBezTo>
                    <a:pt x="77" y="99"/>
                    <a:pt x="90" y="91"/>
                    <a:pt x="90" y="91"/>
                  </a:cubicBezTo>
                  <a:cubicBezTo>
                    <a:pt x="91" y="90"/>
                    <a:pt x="91" y="89"/>
                    <a:pt x="89"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217" y="126"/>
              <a:ext cx="50" cy="29"/>
            </a:xfrm>
            <a:custGeom>
              <a:avLst/>
              <a:gdLst>
                <a:gd name="T0" fmla="*/ 31 w 31"/>
                <a:gd name="T1" fmla="*/ 1 h 18"/>
                <a:gd name="T2" fmla="*/ 30 w 31"/>
                <a:gd name="T3" fmla="*/ 0 h 18"/>
                <a:gd name="T4" fmla="*/ 1 w 31"/>
                <a:gd name="T5" fmla="*/ 17 h 18"/>
                <a:gd name="T6" fmla="*/ 1 w 31"/>
                <a:gd name="T7" fmla="*/ 18 h 18"/>
                <a:gd name="T8" fmla="*/ 14 w 31"/>
                <a:gd name="T9" fmla="*/ 18 h 18"/>
                <a:gd name="T10" fmla="*/ 16 w 31"/>
                <a:gd name="T11" fmla="*/ 18 h 18"/>
                <a:gd name="T12" fmla="*/ 30 w 31"/>
                <a:gd name="T13" fmla="*/ 9 h 18"/>
                <a:gd name="T14" fmla="*/ 31 w 31"/>
                <a:gd name="T15" fmla="*/ 7 h 18"/>
                <a:gd name="T16" fmla="*/ 31 w 31"/>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8">
                  <a:moveTo>
                    <a:pt x="31" y="1"/>
                  </a:moveTo>
                  <a:cubicBezTo>
                    <a:pt x="31" y="1"/>
                    <a:pt x="31" y="0"/>
                    <a:pt x="30" y="0"/>
                  </a:cubicBezTo>
                  <a:cubicBezTo>
                    <a:pt x="28" y="2"/>
                    <a:pt x="16" y="9"/>
                    <a:pt x="1" y="17"/>
                  </a:cubicBezTo>
                  <a:cubicBezTo>
                    <a:pt x="0" y="17"/>
                    <a:pt x="0" y="18"/>
                    <a:pt x="1" y="18"/>
                  </a:cubicBezTo>
                  <a:cubicBezTo>
                    <a:pt x="14" y="18"/>
                    <a:pt x="14" y="18"/>
                    <a:pt x="14" y="18"/>
                  </a:cubicBezTo>
                  <a:cubicBezTo>
                    <a:pt x="15" y="18"/>
                    <a:pt x="15" y="18"/>
                    <a:pt x="16" y="18"/>
                  </a:cubicBezTo>
                  <a:cubicBezTo>
                    <a:pt x="23" y="13"/>
                    <a:pt x="28" y="10"/>
                    <a:pt x="30" y="9"/>
                  </a:cubicBezTo>
                  <a:cubicBezTo>
                    <a:pt x="31" y="8"/>
                    <a:pt x="31" y="7"/>
                    <a:pt x="31" y="7"/>
                  </a:cubicBezTo>
                  <a:cubicBezTo>
                    <a:pt x="31" y="7"/>
                    <a:pt x="31" y="1"/>
                    <a:pt x="31"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172" y="140"/>
              <a:ext cx="39" cy="51"/>
            </a:xfrm>
            <a:custGeom>
              <a:avLst/>
              <a:gdLst>
                <a:gd name="T0" fmla="*/ 15 w 24"/>
                <a:gd name="T1" fmla="*/ 1 h 32"/>
                <a:gd name="T2" fmla="*/ 12 w 24"/>
                <a:gd name="T3" fmla="*/ 0 h 32"/>
                <a:gd name="T4" fmla="*/ 9 w 24"/>
                <a:gd name="T5" fmla="*/ 1 h 32"/>
                <a:gd name="T6" fmla="*/ 1 w 24"/>
                <a:gd name="T7" fmla="*/ 14 h 32"/>
                <a:gd name="T8" fmla="*/ 1 w 24"/>
                <a:gd name="T9" fmla="*/ 18 h 32"/>
                <a:gd name="T10" fmla="*/ 9 w 24"/>
                <a:gd name="T11" fmla="*/ 30 h 32"/>
                <a:gd name="T12" fmla="*/ 12 w 24"/>
                <a:gd name="T13" fmla="*/ 32 h 32"/>
                <a:gd name="T14" fmla="*/ 15 w 24"/>
                <a:gd name="T15" fmla="*/ 30 h 32"/>
                <a:gd name="T16" fmla="*/ 23 w 24"/>
                <a:gd name="T17" fmla="*/ 18 h 32"/>
                <a:gd name="T18" fmla="*/ 23 w 24"/>
                <a:gd name="T19" fmla="*/ 14 h 32"/>
                <a:gd name="T20" fmla="*/ 15 w 24"/>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5" y="1"/>
                  </a:moveTo>
                  <a:cubicBezTo>
                    <a:pt x="14" y="0"/>
                    <a:pt x="13" y="0"/>
                    <a:pt x="12" y="0"/>
                  </a:cubicBezTo>
                  <a:cubicBezTo>
                    <a:pt x="11" y="0"/>
                    <a:pt x="9" y="0"/>
                    <a:pt x="9" y="1"/>
                  </a:cubicBezTo>
                  <a:cubicBezTo>
                    <a:pt x="1" y="14"/>
                    <a:pt x="1" y="14"/>
                    <a:pt x="1" y="14"/>
                  </a:cubicBezTo>
                  <a:cubicBezTo>
                    <a:pt x="0" y="15"/>
                    <a:pt x="0" y="17"/>
                    <a:pt x="1" y="18"/>
                  </a:cubicBezTo>
                  <a:cubicBezTo>
                    <a:pt x="9" y="30"/>
                    <a:pt x="9" y="30"/>
                    <a:pt x="9" y="30"/>
                  </a:cubicBezTo>
                  <a:cubicBezTo>
                    <a:pt x="9" y="31"/>
                    <a:pt x="11" y="32"/>
                    <a:pt x="12" y="32"/>
                  </a:cubicBezTo>
                  <a:cubicBezTo>
                    <a:pt x="13" y="32"/>
                    <a:pt x="14" y="31"/>
                    <a:pt x="15" y="30"/>
                  </a:cubicBezTo>
                  <a:cubicBezTo>
                    <a:pt x="23" y="18"/>
                    <a:pt x="23" y="18"/>
                    <a:pt x="23" y="18"/>
                  </a:cubicBezTo>
                  <a:cubicBezTo>
                    <a:pt x="24" y="17"/>
                    <a:pt x="24" y="15"/>
                    <a:pt x="23" y="14"/>
                  </a:cubicBezTo>
                  <a:lnTo>
                    <a:pt x="1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211" y="169"/>
              <a:ext cx="33" cy="22"/>
            </a:xfrm>
            <a:custGeom>
              <a:avLst/>
              <a:gdLst>
                <a:gd name="T0" fmla="*/ 20 w 21"/>
                <a:gd name="T1" fmla="*/ 0 h 14"/>
                <a:gd name="T2" fmla="*/ 11 w 21"/>
                <a:gd name="T3" fmla="*/ 0 h 14"/>
                <a:gd name="T4" fmla="*/ 9 w 21"/>
                <a:gd name="T5" fmla="*/ 1 h 14"/>
                <a:gd name="T6" fmla="*/ 1 w 21"/>
                <a:gd name="T7" fmla="*/ 12 h 14"/>
                <a:gd name="T8" fmla="*/ 1 w 21"/>
                <a:gd name="T9" fmla="*/ 13 h 14"/>
                <a:gd name="T10" fmla="*/ 2 w 21"/>
                <a:gd name="T11" fmla="*/ 14 h 14"/>
                <a:gd name="T12" fmla="*/ 9 w 21"/>
                <a:gd name="T13" fmla="*/ 14 h 14"/>
                <a:gd name="T14" fmla="*/ 10 w 21"/>
                <a:gd name="T15" fmla="*/ 13 h 14"/>
                <a:gd name="T16" fmla="*/ 21 w 21"/>
                <a:gd name="T17" fmla="*/ 2 h 14"/>
                <a:gd name="T18" fmla="*/ 21 w 21"/>
                <a:gd name="T19" fmla="*/ 1 h 14"/>
                <a:gd name="T20" fmla="*/ 20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0"/>
                  </a:moveTo>
                  <a:cubicBezTo>
                    <a:pt x="11" y="0"/>
                    <a:pt x="11" y="0"/>
                    <a:pt x="11" y="0"/>
                  </a:cubicBezTo>
                  <a:cubicBezTo>
                    <a:pt x="10" y="0"/>
                    <a:pt x="10" y="0"/>
                    <a:pt x="9" y="1"/>
                  </a:cubicBezTo>
                  <a:cubicBezTo>
                    <a:pt x="1" y="12"/>
                    <a:pt x="1" y="12"/>
                    <a:pt x="1" y="12"/>
                  </a:cubicBezTo>
                  <a:cubicBezTo>
                    <a:pt x="0" y="12"/>
                    <a:pt x="0" y="13"/>
                    <a:pt x="1" y="13"/>
                  </a:cubicBezTo>
                  <a:cubicBezTo>
                    <a:pt x="1" y="14"/>
                    <a:pt x="1" y="14"/>
                    <a:pt x="2" y="14"/>
                  </a:cubicBezTo>
                  <a:cubicBezTo>
                    <a:pt x="9" y="14"/>
                    <a:pt x="9" y="14"/>
                    <a:pt x="9" y="14"/>
                  </a:cubicBezTo>
                  <a:cubicBezTo>
                    <a:pt x="9" y="14"/>
                    <a:pt x="10" y="14"/>
                    <a:pt x="10" y="13"/>
                  </a:cubicBezTo>
                  <a:cubicBezTo>
                    <a:pt x="21" y="2"/>
                    <a:pt x="21" y="2"/>
                    <a:pt x="21" y="2"/>
                  </a:cubicBezTo>
                  <a:cubicBezTo>
                    <a:pt x="21" y="1"/>
                    <a:pt x="21" y="1"/>
                    <a:pt x="21" y="1"/>
                  </a:cubicBezTo>
                  <a:cubicBezTo>
                    <a:pt x="21" y="0"/>
                    <a:pt x="20" y="0"/>
                    <a:pt x="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137" y="169"/>
              <a:ext cx="34" cy="22"/>
            </a:xfrm>
            <a:custGeom>
              <a:avLst/>
              <a:gdLst>
                <a:gd name="T0" fmla="*/ 12 w 21"/>
                <a:gd name="T1" fmla="*/ 1 h 14"/>
                <a:gd name="T2" fmla="*/ 11 w 21"/>
                <a:gd name="T3" fmla="*/ 0 h 14"/>
                <a:gd name="T4" fmla="*/ 2 w 21"/>
                <a:gd name="T5" fmla="*/ 0 h 14"/>
                <a:gd name="T6" fmla="*/ 0 w 21"/>
                <a:gd name="T7" fmla="*/ 1 h 14"/>
                <a:gd name="T8" fmla="*/ 1 w 21"/>
                <a:gd name="T9" fmla="*/ 2 h 14"/>
                <a:gd name="T10" fmla="*/ 12 w 21"/>
                <a:gd name="T11" fmla="*/ 13 h 14"/>
                <a:gd name="T12" fmla="*/ 13 w 21"/>
                <a:gd name="T13" fmla="*/ 14 h 14"/>
                <a:gd name="T14" fmla="*/ 19 w 21"/>
                <a:gd name="T15" fmla="*/ 14 h 14"/>
                <a:gd name="T16" fmla="*/ 21 w 21"/>
                <a:gd name="T17" fmla="*/ 13 h 14"/>
                <a:gd name="T18" fmla="*/ 21 w 21"/>
                <a:gd name="T19" fmla="*/ 12 h 14"/>
                <a:gd name="T20" fmla="*/ 12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2" y="1"/>
                  </a:moveTo>
                  <a:cubicBezTo>
                    <a:pt x="12" y="0"/>
                    <a:pt x="11" y="0"/>
                    <a:pt x="11" y="0"/>
                  </a:cubicBezTo>
                  <a:cubicBezTo>
                    <a:pt x="2" y="0"/>
                    <a:pt x="2" y="0"/>
                    <a:pt x="2" y="0"/>
                  </a:cubicBezTo>
                  <a:cubicBezTo>
                    <a:pt x="1" y="0"/>
                    <a:pt x="1" y="0"/>
                    <a:pt x="0" y="1"/>
                  </a:cubicBezTo>
                  <a:cubicBezTo>
                    <a:pt x="0" y="1"/>
                    <a:pt x="0" y="1"/>
                    <a:pt x="1" y="2"/>
                  </a:cubicBezTo>
                  <a:cubicBezTo>
                    <a:pt x="12" y="13"/>
                    <a:pt x="12" y="13"/>
                    <a:pt x="12" y="13"/>
                  </a:cubicBezTo>
                  <a:cubicBezTo>
                    <a:pt x="12" y="14"/>
                    <a:pt x="12" y="14"/>
                    <a:pt x="13" y="14"/>
                  </a:cubicBezTo>
                  <a:cubicBezTo>
                    <a:pt x="19" y="14"/>
                    <a:pt x="19" y="14"/>
                    <a:pt x="19" y="14"/>
                  </a:cubicBezTo>
                  <a:cubicBezTo>
                    <a:pt x="20" y="14"/>
                    <a:pt x="21" y="14"/>
                    <a:pt x="21" y="13"/>
                  </a:cubicBezTo>
                  <a:cubicBezTo>
                    <a:pt x="21" y="13"/>
                    <a:pt x="21" y="12"/>
                    <a:pt x="21" y="12"/>
                  </a:cubicBezTo>
                  <a:lnTo>
                    <a:pt x="1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p:cNvSpPr>
            <p:nvPr userDrawn="1"/>
          </p:nvSpPr>
          <p:spPr bwMode="auto">
            <a:xfrm>
              <a:off x="215" y="172"/>
              <a:ext cx="173" cy="235"/>
            </a:xfrm>
            <a:custGeom>
              <a:avLst/>
              <a:gdLst>
                <a:gd name="T0" fmla="*/ 93 w 108"/>
                <a:gd name="T1" fmla="*/ 63 h 147"/>
                <a:gd name="T2" fmla="*/ 66 w 108"/>
                <a:gd name="T3" fmla="*/ 98 h 147"/>
                <a:gd name="T4" fmla="*/ 1 w 108"/>
                <a:gd name="T5" fmla="*/ 138 h 147"/>
                <a:gd name="T6" fmla="*/ 0 w 108"/>
                <a:gd name="T7" fmla="*/ 139 h 147"/>
                <a:gd name="T8" fmla="*/ 0 w 108"/>
                <a:gd name="T9" fmla="*/ 146 h 147"/>
                <a:gd name="T10" fmla="*/ 1 w 108"/>
                <a:gd name="T11" fmla="*/ 147 h 147"/>
                <a:gd name="T12" fmla="*/ 94 w 108"/>
                <a:gd name="T13" fmla="*/ 90 h 147"/>
                <a:gd name="T14" fmla="*/ 108 w 108"/>
                <a:gd name="T15" fmla="*/ 62 h 147"/>
                <a:gd name="T16" fmla="*/ 37 w 108"/>
                <a:gd name="T17" fmla="*/ 1 h 147"/>
                <a:gd name="T18" fmla="*/ 33 w 108"/>
                <a:gd name="T19" fmla="*/ 1 h 147"/>
                <a:gd name="T20" fmla="*/ 18 w 108"/>
                <a:gd name="T21" fmla="*/ 10 h 147"/>
                <a:gd name="T22" fmla="*/ 19 w 108"/>
                <a:gd name="T23" fmla="*/ 12 h 147"/>
                <a:gd name="T24" fmla="*/ 93 w 108"/>
                <a:gd name="T25" fmla="*/ 6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7">
                  <a:moveTo>
                    <a:pt x="93" y="63"/>
                  </a:moveTo>
                  <a:cubicBezTo>
                    <a:pt x="93" y="77"/>
                    <a:pt x="83" y="87"/>
                    <a:pt x="66" y="98"/>
                  </a:cubicBezTo>
                  <a:cubicBezTo>
                    <a:pt x="51" y="108"/>
                    <a:pt x="7" y="134"/>
                    <a:pt x="1" y="138"/>
                  </a:cubicBezTo>
                  <a:cubicBezTo>
                    <a:pt x="0" y="139"/>
                    <a:pt x="0" y="139"/>
                    <a:pt x="0" y="139"/>
                  </a:cubicBezTo>
                  <a:cubicBezTo>
                    <a:pt x="0" y="139"/>
                    <a:pt x="0" y="145"/>
                    <a:pt x="0" y="146"/>
                  </a:cubicBezTo>
                  <a:cubicBezTo>
                    <a:pt x="0" y="146"/>
                    <a:pt x="0" y="147"/>
                    <a:pt x="1" y="147"/>
                  </a:cubicBezTo>
                  <a:cubicBezTo>
                    <a:pt x="7" y="142"/>
                    <a:pt x="78" y="104"/>
                    <a:pt x="94" y="90"/>
                  </a:cubicBezTo>
                  <a:cubicBezTo>
                    <a:pt x="105" y="80"/>
                    <a:pt x="108" y="72"/>
                    <a:pt x="108" y="62"/>
                  </a:cubicBezTo>
                  <a:cubicBezTo>
                    <a:pt x="108" y="34"/>
                    <a:pt x="78" y="8"/>
                    <a:pt x="37" y="1"/>
                  </a:cubicBezTo>
                  <a:cubicBezTo>
                    <a:pt x="35" y="0"/>
                    <a:pt x="34" y="1"/>
                    <a:pt x="33" y="1"/>
                  </a:cubicBezTo>
                  <a:cubicBezTo>
                    <a:pt x="31" y="2"/>
                    <a:pt x="18" y="10"/>
                    <a:pt x="18" y="10"/>
                  </a:cubicBezTo>
                  <a:cubicBezTo>
                    <a:pt x="17" y="11"/>
                    <a:pt x="17" y="12"/>
                    <a:pt x="19" y="12"/>
                  </a:cubicBezTo>
                  <a:cubicBezTo>
                    <a:pt x="60" y="15"/>
                    <a:pt x="93" y="37"/>
                    <a:pt x="93" y="6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158" y="214"/>
              <a:ext cx="166" cy="91"/>
            </a:xfrm>
            <a:custGeom>
              <a:avLst/>
              <a:gdLst>
                <a:gd name="T0" fmla="*/ 36 w 104"/>
                <a:gd name="T1" fmla="*/ 56 h 57"/>
                <a:gd name="T2" fmla="*/ 42 w 104"/>
                <a:gd name="T3" fmla="*/ 56 h 57"/>
                <a:gd name="T4" fmla="*/ 42 w 104"/>
                <a:gd name="T5" fmla="*/ 33 h 57"/>
                <a:gd name="T6" fmla="*/ 21 w 104"/>
                <a:gd name="T7" fmla="*/ 13 h 57"/>
                <a:gd name="T8" fmla="*/ 12 w 104"/>
                <a:gd name="T9" fmla="*/ 16 h 57"/>
                <a:gd name="T10" fmla="*/ 5 w 104"/>
                <a:gd name="T11" fmla="*/ 13 h 57"/>
                <a:gd name="T12" fmla="*/ 0 w 104"/>
                <a:gd name="T13" fmla="*/ 13 h 57"/>
                <a:gd name="T14" fmla="*/ 0 w 104"/>
                <a:gd name="T15" fmla="*/ 47 h 57"/>
                <a:gd name="T16" fmla="*/ 9 w 104"/>
                <a:gd name="T17" fmla="*/ 56 h 57"/>
                <a:gd name="T18" fmla="*/ 14 w 104"/>
                <a:gd name="T19" fmla="*/ 56 h 57"/>
                <a:gd name="T20" fmla="*/ 14 w 104"/>
                <a:gd name="T21" fmla="*/ 33 h 57"/>
                <a:gd name="T22" fmla="*/ 20 w 104"/>
                <a:gd name="T23" fmla="*/ 25 h 57"/>
                <a:gd name="T24" fmla="*/ 27 w 104"/>
                <a:gd name="T25" fmla="*/ 33 h 57"/>
                <a:gd name="T26" fmla="*/ 27 w 104"/>
                <a:gd name="T27" fmla="*/ 47 h 57"/>
                <a:gd name="T28" fmla="*/ 36 w 104"/>
                <a:gd name="T29" fmla="*/ 56 h 57"/>
                <a:gd name="T30" fmla="*/ 74 w 104"/>
                <a:gd name="T31" fmla="*/ 50 h 57"/>
                <a:gd name="T32" fmla="*/ 74 w 104"/>
                <a:gd name="T33" fmla="*/ 45 h 57"/>
                <a:gd name="T34" fmla="*/ 70 w 104"/>
                <a:gd name="T35" fmla="*/ 45 h 57"/>
                <a:gd name="T36" fmla="*/ 64 w 104"/>
                <a:gd name="T37" fmla="*/ 40 h 57"/>
                <a:gd name="T38" fmla="*/ 64 w 104"/>
                <a:gd name="T39" fmla="*/ 10 h 57"/>
                <a:gd name="T40" fmla="*/ 55 w 104"/>
                <a:gd name="T41" fmla="*/ 0 h 57"/>
                <a:gd name="T42" fmla="*/ 50 w 104"/>
                <a:gd name="T43" fmla="*/ 0 h 57"/>
                <a:gd name="T44" fmla="*/ 50 w 104"/>
                <a:gd name="T45" fmla="*/ 42 h 57"/>
                <a:gd name="T46" fmla="*/ 64 w 104"/>
                <a:gd name="T47" fmla="*/ 57 h 57"/>
                <a:gd name="T48" fmla="*/ 74 w 104"/>
                <a:gd name="T49" fmla="*/ 50 h 57"/>
                <a:gd name="T50" fmla="*/ 104 w 104"/>
                <a:gd name="T51" fmla="*/ 25 h 57"/>
                <a:gd name="T52" fmla="*/ 104 w 104"/>
                <a:gd name="T53" fmla="*/ 20 h 57"/>
                <a:gd name="T54" fmla="*/ 93 w 104"/>
                <a:gd name="T55" fmla="*/ 13 h 57"/>
                <a:gd name="T56" fmla="*/ 78 w 104"/>
                <a:gd name="T57" fmla="*/ 28 h 57"/>
                <a:gd name="T58" fmla="*/ 78 w 104"/>
                <a:gd name="T59" fmla="*/ 46 h 57"/>
                <a:gd name="T60" fmla="*/ 88 w 104"/>
                <a:gd name="T61" fmla="*/ 56 h 57"/>
                <a:gd name="T62" fmla="*/ 92 w 104"/>
                <a:gd name="T63" fmla="*/ 56 h 57"/>
                <a:gd name="T64" fmla="*/ 92 w 104"/>
                <a:gd name="T65" fmla="*/ 31 h 57"/>
                <a:gd name="T66" fmla="*/ 98 w 104"/>
                <a:gd name="T67" fmla="*/ 24 h 57"/>
                <a:gd name="T68" fmla="*/ 103 w 104"/>
                <a:gd name="T69" fmla="*/ 25 h 57"/>
                <a:gd name="T70" fmla="*/ 104 w 104"/>
                <a:gd name="T71"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7">
                  <a:moveTo>
                    <a:pt x="36" y="56"/>
                  </a:moveTo>
                  <a:cubicBezTo>
                    <a:pt x="42" y="56"/>
                    <a:pt x="42" y="56"/>
                    <a:pt x="42" y="56"/>
                  </a:cubicBezTo>
                  <a:cubicBezTo>
                    <a:pt x="42" y="33"/>
                    <a:pt x="42" y="33"/>
                    <a:pt x="42" y="33"/>
                  </a:cubicBezTo>
                  <a:cubicBezTo>
                    <a:pt x="42" y="21"/>
                    <a:pt x="36" y="12"/>
                    <a:pt x="21" y="13"/>
                  </a:cubicBezTo>
                  <a:cubicBezTo>
                    <a:pt x="17" y="13"/>
                    <a:pt x="12" y="16"/>
                    <a:pt x="12" y="16"/>
                  </a:cubicBezTo>
                  <a:cubicBezTo>
                    <a:pt x="10" y="14"/>
                    <a:pt x="8" y="13"/>
                    <a:pt x="5" y="13"/>
                  </a:cubicBezTo>
                  <a:cubicBezTo>
                    <a:pt x="0" y="13"/>
                    <a:pt x="0" y="13"/>
                    <a:pt x="0" y="13"/>
                  </a:cubicBezTo>
                  <a:cubicBezTo>
                    <a:pt x="0" y="47"/>
                    <a:pt x="0" y="47"/>
                    <a:pt x="0" y="47"/>
                  </a:cubicBezTo>
                  <a:cubicBezTo>
                    <a:pt x="0" y="53"/>
                    <a:pt x="3" y="56"/>
                    <a:pt x="9" y="56"/>
                  </a:cubicBezTo>
                  <a:cubicBezTo>
                    <a:pt x="14" y="56"/>
                    <a:pt x="14" y="56"/>
                    <a:pt x="14" y="56"/>
                  </a:cubicBezTo>
                  <a:cubicBezTo>
                    <a:pt x="14" y="33"/>
                    <a:pt x="14" y="33"/>
                    <a:pt x="14" y="33"/>
                  </a:cubicBezTo>
                  <a:cubicBezTo>
                    <a:pt x="14" y="27"/>
                    <a:pt x="16" y="25"/>
                    <a:pt x="20" y="25"/>
                  </a:cubicBezTo>
                  <a:cubicBezTo>
                    <a:pt x="25" y="25"/>
                    <a:pt x="27" y="27"/>
                    <a:pt x="27" y="33"/>
                  </a:cubicBezTo>
                  <a:cubicBezTo>
                    <a:pt x="27" y="47"/>
                    <a:pt x="27" y="47"/>
                    <a:pt x="27" y="47"/>
                  </a:cubicBezTo>
                  <a:cubicBezTo>
                    <a:pt x="27" y="54"/>
                    <a:pt x="29" y="56"/>
                    <a:pt x="36" y="56"/>
                  </a:cubicBezTo>
                  <a:moveTo>
                    <a:pt x="74" y="50"/>
                  </a:moveTo>
                  <a:cubicBezTo>
                    <a:pt x="74" y="45"/>
                    <a:pt x="74" y="45"/>
                    <a:pt x="74" y="45"/>
                  </a:cubicBezTo>
                  <a:cubicBezTo>
                    <a:pt x="70" y="45"/>
                    <a:pt x="70" y="45"/>
                    <a:pt x="70" y="45"/>
                  </a:cubicBezTo>
                  <a:cubicBezTo>
                    <a:pt x="66" y="45"/>
                    <a:pt x="64" y="44"/>
                    <a:pt x="64" y="40"/>
                  </a:cubicBezTo>
                  <a:cubicBezTo>
                    <a:pt x="64" y="10"/>
                    <a:pt x="64" y="10"/>
                    <a:pt x="64" y="10"/>
                  </a:cubicBezTo>
                  <a:cubicBezTo>
                    <a:pt x="64" y="3"/>
                    <a:pt x="61" y="0"/>
                    <a:pt x="55" y="0"/>
                  </a:cubicBezTo>
                  <a:cubicBezTo>
                    <a:pt x="50" y="0"/>
                    <a:pt x="50" y="0"/>
                    <a:pt x="50" y="0"/>
                  </a:cubicBezTo>
                  <a:cubicBezTo>
                    <a:pt x="50" y="42"/>
                    <a:pt x="50" y="42"/>
                    <a:pt x="50" y="42"/>
                  </a:cubicBezTo>
                  <a:cubicBezTo>
                    <a:pt x="50" y="52"/>
                    <a:pt x="56" y="57"/>
                    <a:pt x="64" y="57"/>
                  </a:cubicBezTo>
                  <a:cubicBezTo>
                    <a:pt x="69" y="57"/>
                    <a:pt x="74" y="55"/>
                    <a:pt x="74" y="50"/>
                  </a:cubicBezTo>
                  <a:moveTo>
                    <a:pt x="104" y="25"/>
                  </a:moveTo>
                  <a:cubicBezTo>
                    <a:pt x="104" y="20"/>
                    <a:pt x="104" y="20"/>
                    <a:pt x="104" y="20"/>
                  </a:cubicBezTo>
                  <a:cubicBezTo>
                    <a:pt x="104" y="16"/>
                    <a:pt x="100" y="13"/>
                    <a:pt x="93" y="13"/>
                  </a:cubicBezTo>
                  <a:cubicBezTo>
                    <a:pt x="84" y="13"/>
                    <a:pt x="78" y="20"/>
                    <a:pt x="78" y="28"/>
                  </a:cubicBezTo>
                  <a:cubicBezTo>
                    <a:pt x="78" y="46"/>
                    <a:pt x="78" y="46"/>
                    <a:pt x="78" y="46"/>
                  </a:cubicBezTo>
                  <a:cubicBezTo>
                    <a:pt x="78" y="53"/>
                    <a:pt x="82" y="56"/>
                    <a:pt x="88" y="56"/>
                  </a:cubicBezTo>
                  <a:cubicBezTo>
                    <a:pt x="92" y="56"/>
                    <a:pt x="92" y="56"/>
                    <a:pt x="92" y="56"/>
                  </a:cubicBezTo>
                  <a:cubicBezTo>
                    <a:pt x="92" y="31"/>
                    <a:pt x="92" y="31"/>
                    <a:pt x="92" y="31"/>
                  </a:cubicBezTo>
                  <a:cubicBezTo>
                    <a:pt x="92" y="26"/>
                    <a:pt x="95" y="24"/>
                    <a:pt x="98" y="24"/>
                  </a:cubicBezTo>
                  <a:cubicBezTo>
                    <a:pt x="100" y="24"/>
                    <a:pt x="102" y="24"/>
                    <a:pt x="103" y="25"/>
                  </a:cubicBezTo>
                  <a:lnTo>
                    <a:pt x="10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154" y="199"/>
              <a:ext cx="73" cy="13"/>
            </a:xfrm>
            <a:custGeom>
              <a:avLst/>
              <a:gdLst>
                <a:gd name="T0" fmla="*/ 44 w 45"/>
                <a:gd name="T1" fmla="*/ 1 h 8"/>
                <a:gd name="T2" fmla="*/ 43 w 45"/>
                <a:gd name="T3" fmla="*/ 0 h 8"/>
                <a:gd name="T4" fmla="*/ 2 w 45"/>
                <a:gd name="T5" fmla="*/ 0 h 8"/>
                <a:gd name="T6" fmla="*/ 1 w 45"/>
                <a:gd name="T7" fmla="*/ 1 h 8"/>
                <a:gd name="T8" fmla="*/ 1 w 45"/>
                <a:gd name="T9" fmla="*/ 2 h 8"/>
                <a:gd name="T10" fmla="*/ 2 w 45"/>
                <a:gd name="T11" fmla="*/ 7 h 8"/>
                <a:gd name="T12" fmla="*/ 3 w 45"/>
                <a:gd name="T13" fmla="*/ 8 h 8"/>
                <a:gd name="T14" fmla="*/ 42 w 45"/>
                <a:gd name="T15" fmla="*/ 8 h 8"/>
                <a:gd name="T16" fmla="*/ 43 w 45"/>
                <a:gd name="T17" fmla="*/ 7 h 8"/>
                <a:gd name="T18" fmla="*/ 45 w 45"/>
                <a:gd name="T19" fmla="*/ 2 h 8"/>
                <a:gd name="T20" fmla="*/ 44 w 45"/>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
                  <a:moveTo>
                    <a:pt x="44" y="1"/>
                  </a:moveTo>
                  <a:cubicBezTo>
                    <a:pt x="44" y="0"/>
                    <a:pt x="44" y="0"/>
                    <a:pt x="43" y="0"/>
                  </a:cubicBezTo>
                  <a:cubicBezTo>
                    <a:pt x="2" y="0"/>
                    <a:pt x="2" y="0"/>
                    <a:pt x="2" y="0"/>
                  </a:cubicBezTo>
                  <a:cubicBezTo>
                    <a:pt x="1" y="0"/>
                    <a:pt x="1" y="0"/>
                    <a:pt x="1" y="1"/>
                  </a:cubicBezTo>
                  <a:cubicBezTo>
                    <a:pt x="1" y="1"/>
                    <a:pt x="0" y="2"/>
                    <a:pt x="1" y="2"/>
                  </a:cubicBezTo>
                  <a:cubicBezTo>
                    <a:pt x="2" y="7"/>
                    <a:pt x="2" y="7"/>
                    <a:pt x="2" y="7"/>
                  </a:cubicBezTo>
                  <a:cubicBezTo>
                    <a:pt x="2" y="7"/>
                    <a:pt x="3" y="8"/>
                    <a:pt x="3" y="8"/>
                  </a:cubicBezTo>
                  <a:cubicBezTo>
                    <a:pt x="42" y="8"/>
                    <a:pt x="42" y="8"/>
                    <a:pt x="42" y="8"/>
                  </a:cubicBezTo>
                  <a:cubicBezTo>
                    <a:pt x="42" y="8"/>
                    <a:pt x="43" y="7"/>
                    <a:pt x="43" y="7"/>
                  </a:cubicBezTo>
                  <a:cubicBezTo>
                    <a:pt x="45" y="2"/>
                    <a:pt x="45" y="2"/>
                    <a:pt x="45" y="2"/>
                  </a:cubicBezTo>
                  <a:cubicBezTo>
                    <a:pt x="45" y="2"/>
                    <a:pt x="45" y="1"/>
                    <a:pt x="4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154" y="19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Oval 17"/>
            <p:cNvSpPr>
              <a:spLocks noChangeArrowheads="1"/>
            </p:cNvSpPr>
            <p:nvPr userDrawn="1"/>
          </p:nvSpPr>
          <p:spPr bwMode="auto">
            <a:xfrm>
              <a:off x="182" y="126"/>
              <a:ext cx="17" cy="1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Title Placeholder 1">
            <a:extLst>
              <a:ext uri="{FF2B5EF4-FFF2-40B4-BE49-F238E27FC236}">
                <a16:creationId xmlns:a16="http://schemas.microsoft.com/office/drawing/2014/main" id="{33E42B9F-5D76-41DC-B6FE-B4DBAA16B1E9}"/>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30575869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92162" y="1029600"/>
            <a:ext cx="3808800" cy="3254465"/>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4756150" y="1029599"/>
            <a:ext cx="3810001" cy="3254465"/>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5"/>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7" name="Slide Number Placeholder 6"/>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8" name="Title Placeholder 1">
            <a:extLst>
              <a:ext uri="{FF2B5EF4-FFF2-40B4-BE49-F238E27FC236}">
                <a16:creationId xmlns:a16="http://schemas.microsoft.com/office/drawing/2014/main" id="{FC48060F-466D-4E5C-980E-D012C477457E}"/>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420281376"/>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24706052-4A7C-4140-88D2-8F058B9974C4}"/>
              </a:ext>
            </a:extLst>
          </p:cNvPr>
          <p:cNvSpPr>
            <a:spLocks noGrp="1"/>
          </p:cNvSpPr>
          <p:nvPr>
            <p:ph sz="half" idx="13"/>
          </p:nvPr>
        </p:nvSpPr>
        <p:spPr>
          <a:xfrm>
            <a:off x="792162" y="1391816"/>
            <a:ext cx="3808800" cy="3254465"/>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3">
            <a:extLst>
              <a:ext uri="{FF2B5EF4-FFF2-40B4-BE49-F238E27FC236}">
                <a16:creationId xmlns:a16="http://schemas.microsoft.com/office/drawing/2014/main" id="{3407ACA4-8FC4-43ED-9882-5BE53B2703E4}"/>
              </a:ext>
            </a:extLst>
          </p:cNvPr>
          <p:cNvSpPr>
            <a:spLocks noGrp="1"/>
          </p:cNvSpPr>
          <p:nvPr>
            <p:ph sz="half" idx="2"/>
          </p:nvPr>
        </p:nvSpPr>
        <p:spPr>
          <a:xfrm>
            <a:off x="4756150" y="1391815"/>
            <a:ext cx="3810001" cy="3254465"/>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Placeholder 1">
            <a:extLst>
              <a:ext uri="{FF2B5EF4-FFF2-40B4-BE49-F238E27FC236}">
                <a16:creationId xmlns:a16="http://schemas.microsoft.com/office/drawing/2014/main" id="{5E9266CB-F6BB-4627-A73A-41DC700559AB}"/>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
        <p:nvSpPr>
          <p:cNvPr id="3" name="Text Placeholder 2"/>
          <p:cNvSpPr>
            <a:spLocks noGrp="1"/>
          </p:cNvSpPr>
          <p:nvPr>
            <p:ph type="body" idx="1"/>
          </p:nvPr>
        </p:nvSpPr>
        <p:spPr>
          <a:xfrm>
            <a:off x="792161" y="911994"/>
            <a:ext cx="3808800" cy="479822"/>
          </a:xfrm>
          <a:prstGeom prst="rect">
            <a:avLst/>
          </a:prstGeom>
        </p:spPr>
        <p:txBody>
          <a:bodyPr anchor="b"/>
          <a:lstStyle>
            <a:lvl1pPr marL="0" indent="0">
              <a:buNone/>
              <a:defRPr sz="1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5" name="Text Placeholder 4"/>
          <p:cNvSpPr>
            <a:spLocks noGrp="1"/>
          </p:cNvSpPr>
          <p:nvPr>
            <p:ph type="body" sz="quarter" idx="3"/>
          </p:nvPr>
        </p:nvSpPr>
        <p:spPr>
          <a:xfrm>
            <a:off x="4756387" y="911994"/>
            <a:ext cx="3808800" cy="479822"/>
          </a:xfrm>
          <a:prstGeom prst="rect">
            <a:avLst/>
          </a:prstGeom>
        </p:spPr>
        <p:txBody>
          <a:bodyPr anchor="b"/>
          <a:lstStyle>
            <a:lvl1pPr marL="0" indent="0">
              <a:buNone/>
              <a:defRPr sz="1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8" name="Footer Placeholder 7"/>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9" name="Slide Number Placeholder 8"/>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Tree>
    <p:extLst>
      <p:ext uri="{BB962C8B-B14F-4D97-AF65-F5344CB8AC3E}">
        <p14:creationId xmlns:p14="http://schemas.microsoft.com/office/powerpoint/2010/main" val="829754046"/>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and Text">
    <p:spTree>
      <p:nvGrpSpPr>
        <p:cNvPr id="1" name=""/>
        <p:cNvGrpSpPr/>
        <p:nvPr/>
      </p:nvGrpSpPr>
      <p:grpSpPr>
        <a:xfrm>
          <a:off x="0" y="0"/>
          <a:ext cx="0" cy="0"/>
          <a:chOff x="0" y="0"/>
          <a:chExt cx="0" cy="0"/>
        </a:xfrm>
      </p:grpSpPr>
      <p:sp>
        <p:nvSpPr>
          <p:cNvPr id="6" name="Picture Placeholder 2"/>
          <p:cNvSpPr>
            <a:spLocks noGrp="1"/>
          </p:cNvSpPr>
          <p:nvPr>
            <p:ph type="pic" idx="1"/>
          </p:nvPr>
        </p:nvSpPr>
        <p:spPr>
          <a:xfrm>
            <a:off x="681054" y="1029600"/>
            <a:ext cx="7989871" cy="2434590"/>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4" name="Footer Placeholder 3"/>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5" name="Slide Number Placeholder 4"/>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10" name="Text Placeholder 2"/>
          <p:cNvSpPr>
            <a:spLocks noGrp="1"/>
          </p:cNvSpPr>
          <p:nvPr>
            <p:ph type="body" idx="16" hasCustomPrompt="1"/>
          </p:nvPr>
        </p:nvSpPr>
        <p:spPr>
          <a:xfrm>
            <a:off x="678657" y="3464190"/>
            <a:ext cx="7992269" cy="948281"/>
          </a:xfrm>
          <a:custGeom>
            <a:avLst/>
            <a:gdLst>
              <a:gd name="connsiteX0" fmla="*/ 266548 w 7989886"/>
              <a:gd name="connsiteY0" fmla="*/ 0 h 1103992"/>
              <a:gd name="connsiteX1" fmla="*/ 7989886 w 7989886"/>
              <a:gd name="connsiteY1" fmla="*/ 0 h 1103992"/>
              <a:gd name="connsiteX2" fmla="*/ 7989886 w 7989886"/>
              <a:gd name="connsiteY2" fmla="*/ 0 h 1103992"/>
              <a:gd name="connsiteX3" fmla="*/ 7989886 w 7989886"/>
              <a:gd name="connsiteY3" fmla="*/ 837444 h 1103992"/>
              <a:gd name="connsiteX4" fmla="*/ 7723338 w 7989886"/>
              <a:gd name="connsiteY4" fmla="*/ 1103992 h 1103992"/>
              <a:gd name="connsiteX5" fmla="*/ 0 w 7989886"/>
              <a:gd name="connsiteY5" fmla="*/ 1103992 h 1103992"/>
              <a:gd name="connsiteX6" fmla="*/ 0 w 7989886"/>
              <a:gd name="connsiteY6" fmla="*/ 1103992 h 1103992"/>
              <a:gd name="connsiteX7" fmla="*/ 0 w 7989886"/>
              <a:gd name="connsiteY7" fmla="*/ 266548 h 1103992"/>
              <a:gd name="connsiteX8" fmla="*/ 266548 w 7989886"/>
              <a:gd name="connsiteY8" fmla="*/ 0 h 1103992"/>
              <a:gd name="connsiteX0" fmla="*/ 65387 w 8055425"/>
              <a:gd name="connsiteY0" fmla="*/ 0 h 1103992"/>
              <a:gd name="connsiteX1" fmla="*/ 8055425 w 8055425"/>
              <a:gd name="connsiteY1" fmla="*/ 0 h 1103992"/>
              <a:gd name="connsiteX2" fmla="*/ 8055425 w 8055425"/>
              <a:gd name="connsiteY2" fmla="*/ 0 h 1103992"/>
              <a:gd name="connsiteX3" fmla="*/ 8055425 w 8055425"/>
              <a:gd name="connsiteY3" fmla="*/ 837444 h 1103992"/>
              <a:gd name="connsiteX4" fmla="*/ 7788877 w 8055425"/>
              <a:gd name="connsiteY4" fmla="*/ 1103992 h 1103992"/>
              <a:gd name="connsiteX5" fmla="*/ 65539 w 8055425"/>
              <a:gd name="connsiteY5" fmla="*/ 1103992 h 1103992"/>
              <a:gd name="connsiteX6" fmla="*/ 65539 w 8055425"/>
              <a:gd name="connsiteY6" fmla="*/ 1103992 h 1103992"/>
              <a:gd name="connsiteX7" fmla="*/ 65539 w 8055425"/>
              <a:gd name="connsiteY7" fmla="*/ 266548 h 1103992"/>
              <a:gd name="connsiteX8" fmla="*/ 65387 w 8055425"/>
              <a:gd name="connsiteY8" fmla="*/ 0 h 1103992"/>
              <a:gd name="connsiteX0" fmla="*/ 0 w 7990038"/>
              <a:gd name="connsiteY0" fmla="*/ 0 h 1103992"/>
              <a:gd name="connsiteX1" fmla="*/ 7990038 w 7990038"/>
              <a:gd name="connsiteY1" fmla="*/ 0 h 1103992"/>
              <a:gd name="connsiteX2" fmla="*/ 7990038 w 7990038"/>
              <a:gd name="connsiteY2" fmla="*/ 0 h 1103992"/>
              <a:gd name="connsiteX3" fmla="*/ 7990038 w 7990038"/>
              <a:gd name="connsiteY3" fmla="*/ 837444 h 1103992"/>
              <a:gd name="connsiteX4" fmla="*/ 7723490 w 7990038"/>
              <a:gd name="connsiteY4" fmla="*/ 1103992 h 1103992"/>
              <a:gd name="connsiteX5" fmla="*/ 152 w 7990038"/>
              <a:gd name="connsiteY5" fmla="*/ 1103992 h 1103992"/>
              <a:gd name="connsiteX6" fmla="*/ 152 w 7990038"/>
              <a:gd name="connsiteY6" fmla="*/ 1103992 h 1103992"/>
              <a:gd name="connsiteX7" fmla="*/ 152 w 7990038"/>
              <a:gd name="connsiteY7" fmla="*/ 266548 h 1103992"/>
              <a:gd name="connsiteX8" fmla="*/ 0 w 7990038"/>
              <a:gd name="connsiteY8" fmla="*/ 0 h 1103992"/>
              <a:gd name="connsiteX0" fmla="*/ 0 w 7990038"/>
              <a:gd name="connsiteY0" fmla="*/ 0 h 1103992"/>
              <a:gd name="connsiteX1" fmla="*/ 7990038 w 7990038"/>
              <a:gd name="connsiteY1" fmla="*/ 0 h 1103992"/>
              <a:gd name="connsiteX2" fmla="*/ 7990038 w 7990038"/>
              <a:gd name="connsiteY2" fmla="*/ 0 h 1103992"/>
              <a:gd name="connsiteX3" fmla="*/ 7990038 w 7990038"/>
              <a:gd name="connsiteY3" fmla="*/ 837444 h 1103992"/>
              <a:gd name="connsiteX4" fmla="*/ 7723490 w 7990038"/>
              <a:gd name="connsiteY4" fmla="*/ 1103992 h 1103992"/>
              <a:gd name="connsiteX5" fmla="*/ 152 w 7990038"/>
              <a:gd name="connsiteY5" fmla="*/ 1103992 h 1103992"/>
              <a:gd name="connsiteX6" fmla="*/ 152 w 7990038"/>
              <a:gd name="connsiteY6" fmla="*/ 1103992 h 1103992"/>
              <a:gd name="connsiteX7" fmla="*/ 0 w 7990038"/>
              <a:gd name="connsiteY7" fmla="*/ 0 h 1103992"/>
              <a:gd name="connsiteX0" fmla="*/ 0 w 7990038"/>
              <a:gd name="connsiteY0" fmla="*/ 0 h 1103992"/>
              <a:gd name="connsiteX1" fmla="*/ 7990038 w 7990038"/>
              <a:gd name="connsiteY1" fmla="*/ 0 h 1103992"/>
              <a:gd name="connsiteX2" fmla="*/ 7990038 w 7990038"/>
              <a:gd name="connsiteY2" fmla="*/ 0 h 1103992"/>
              <a:gd name="connsiteX3" fmla="*/ 7989244 w 7990038"/>
              <a:gd name="connsiteY3" fmla="*/ 50346 h 1103992"/>
              <a:gd name="connsiteX4" fmla="*/ 7990038 w 7990038"/>
              <a:gd name="connsiteY4" fmla="*/ 837444 h 1103992"/>
              <a:gd name="connsiteX5" fmla="*/ 7723490 w 7990038"/>
              <a:gd name="connsiteY5" fmla="*/ 1103992 h 1103992"/>
              <a:gd name="connsiteX6" fmla="*/ 152 w 7990038"/>
              <a:gd name="connsiteY6" fmla="*/ 1103992 h 1103992"/>
              <a:gd name="connsiteX7" fmla="*/ 152 w 7990038"/>
              <a:gd name="connsiteY7" fmla="*/ 1103992 h 1103992"/>
              <a:gd name="connsiteX8" fmla="*/ 0 w 7990038"/>
              <a:gd name="connsiteY8" fmla="*/ 0 h 1103992"/>
              <a:gd name="connsiteX0" fmla="*/ 592604 w 8582642"/>
              <a:gd name="connsiteY0" fmla="*/ 44448 h 1148440"/>
              <a:gd name="connsiteX1" fmla="*/ 8582642 w 8582642"/>
              <a:gd name="connsiteY1" fmla="*/ 44448 h 1148440"/>
              <a:gd name="connsiteX2" fmla="*/ 8582642 w 8582642"/>
              <a:gd name="connsiteY2" fmla="*/ 44448 h 1148440"/>
              <a:gd name="connsiteX3" fmla="*/ 8581848 w 8582642"/>
              <a:gd name="connsiteY3" fmla="*/ 94794 h 1148440"/>
              <a:gd name="connsiteX4" fmla="*/ 8582642 w 8582642"/>
              <a:gd name="connsiteY4" fmla="*/ 881892 h 1148440"/>
              <a:gd name="connsiteX5" fmla="*/ 8316094 w 8582642"/>
              <a:gd name="connsiteY5" fmla="*/ 1148440 h 1148440"/>
              <a:gd name="connsiteX6" fmla="*/ 592756 w 8582642"/>
              <a:gd name="connsiteY6" fmla="*/ 1148440 h 1148440"/>
              <a:gd name="connsiteX7" fmla="*/ 592756 w 8582642"/>
              <a:gd name="connsiteY7" fmla="*/ 1148440 h 1148440"/>
              <a:gd name="connsiteX8" fmla="*/ 590373 w 8582642"/>
              <a:gd name="connsiteY8" fmla="*/ 94794 h 1148440"/>
              <a:gd name="connsiteX9" fmla="*/ 592604 w 8582642"/>
              <a:gd name="connsiteY9" fmla="*/ 44448 h 1148440"/>
              <a:gd name="connsiteX0" fmla="*/ 592604 w 8582642"/>
              <a:gd name="connsiteY0" fmla="*/ 44448 h 1148440"/>
              <a:gd name="connsiteX1" fmla="*/ 8582642 w 8582642"/>
              <a:gd name="connsiteY1" fmla="*/ 44448 h 1148440"/>
              <a:gd name="connsiteX2" fmla="*/ 8582642 w 8582642"/>
              <a:gd name="connsiteY2" fmla="*/ 44448 h 1148440"/>
              <a:gd name="connsiteX3" fmla="*/ 8581848 w 8582642"/>
              <a:gd name="connsiteY3" fmla="*/ 94794 h 1148440"/>
              <a:gd name="connsiteX4" fmla="*/ 8582642 w 8582642"/>
              <a:gd name="connsiteY4" fmla="*/ 881892 h 1148440"/>
              <a:gd name="connsiteX5" fmla="*/ 8316094 w 8582642"/>
              <a:gd name="connsiteY5" fmla="*/ 1148440 h 1148440"/>
              <a:gd name="connsiteX6" fmla="*/ 592756 w 8582642"/>
              <a:gd name="connsiteY6" fmla="*/ 1148440 h 1148440"/>
              <a:gd name="connsiteX7" fmla="*/ 592756 w 8582642"/>
              <a:gd name="connsiteY7" fmla="*/ 1148440 h 1148440"/>
              <a:gd name="connsiteX8" fmla="*/ 590373 w 8582642"/>
              <a:gd name="connsiteY8" fmla="*/ 94794 h 1148440"/>
              <a:gd name="connsiteX9" fmla="*/ 592604 w 8582642"/>
              <a:gd name="connsiteY9" fmla="*/ 44448 h 1148440"/>
              <a:gd name="connsiteX0" fmla="*/ 0 w 7992269"/>
              <a:gd name="connsiteY0" fmla="*/ 94794 h 1148440"/>
              <a:gd name="connsiteX1" fmla="*/ 7992269 w 7992269"/>
              <a:gd name="connsiteY1" fmla="*/ 44448 h 1148440"/>
              <a:gd name="connsiteX2" fmla="*/ 7992269 w 7992269"/>
              <a:gd name="connsiteY2" fmla="*/ 44448 h 1148440"/>
              <a:gd name="connsiteX3" fmla="*/ 7991475 w 7992269"/>
              <a:gd name="connsiteY3" fmla="*/ 94794 h 1148440"/>
              <a:gd name="connsiteX4" fmla="*/ 7992269 w 7992269"/>
              <a:gd name="connsiteY4" fmla="*/ 881892 h 1148440"/>
              <a:gd name="connsiteX5" fmla="*/ 7725721 w 7992269"/>
              <a:gd name="connsiteY5" fmla="*/ 1148440 h 1148440"/>
              <a:gd name="connsiteX6" fmla="*/ 2383 w 7992269"/>
              <a:gd name="connsiteY6" fmla="*/ 1148440 h 1148440"/>
              <a:gd name="connsiteX7" fmla="*/ 2383 w 7992269"/>
              <a:gd name="connsiteY7" fmla="*/ 1148440 h 1148440"/>
              <a:gd name="connsiteX8" fmla="*/ 0 w 7992269"/>
              <a:gd name="connsiteY8" fmla="*/ 94794 h 1148440"/>
              <a:gd name="connsiteX0" fmla="*/ 0 w 7992269"/>
              <a:gd name="connsiteY0" fmla="*/ 94794 h 1148440"/>
              <a:gd name="connsiteX1" fmla="*/ 7992269 w 7992269"/>
              <a:gd name="connsiteY1" fmla="*/ 44448 h 1148440"/>
              <a:gd name="connsiteX2" fmla="*/ 7991475 w 7992269"/>
              <a:gd name="connsiteY2" fmla="*/ 94794 h 1148440"/>
              <a:gd name="connsiteX3" fmla="*/ 7992269 w 7992269"/>
              <a:gd name="connsiteY3" fmla="*/ 881892 h 1148440"/>
              <a:gd name="connsiteX4" fmla="*/ 7725721 w 7992269"/>
              <a:gd name="connsiteY4" fmla="*/ 1148440 h 1148440"/>
              <a:gd name="connsiteX5" fmla="*/ 2383 w 7992269"/>
              <a:gd name="connsiteY5" fmla="*/ 1148440 h 1148440"/>
              <a:gd name="connsiteX6" fmla="*/ 2383 w 7992269"/>
              <a:gd name="connsiteY6" fmla="*/ 1148440 h 1148440"/>
              <a:gd name="connsiteX7" fmla="*/ 0 w 7992269"/>
              <a:gd name="connsiteY7" fmla="*/ 94794 h 1148440"/>
              <a:gd name="connsiteX0" fmla="*/ 0 w 7992269"/>
              <a:gd name="connsiteY0" fmla="*/ 115643 h 1169289"/>
              <a:gd name="connsiteX1" fmla="*/ 7991475 w 7992269"/>
              <a:gd name="connsiteY1" fmla="*/ 115643 h 1169289"/>
              <a:gd name="connsiteX2" fmla="*/ 7992269 w 7992269"/>
              <a:gd name="connsiteY2" fmla="*/ 902741 h 1169289"/>
              <a:gd name="connsiteX3" fmla="*/ 7725721 w 7992269"/>
              <a:gd name="connsiteY3" fmla="*/ 1169289 h 1169289"/>
              <a:gd name="connsiteX4" fmla="*/ 2383 w 7992269"/>
              <a:gd name="connsiteY4" fmla="*/ 1169289 h 1169289"/>
              <a:gd name="connsiteX5" fmla="*/ 2383 w 7992269"/>
              <a:gd name="connsiteY5" fmla="*/ 1169289 h 1169289"/>
              <a:gd name="connsiteX6" fmla="*/ 0 w 7992269"/>
              <a:gd name="connsiteY6" fmla="*/ 115643 h 1169289"/>
              <a:gd name="connsiteX0" fmla="*/ 0 w 7992269"/>
              <a:gd name="connsiteY0" fmla="*/ 115643 h 1169289"/>
              <a:gd name="connsiteX1" fmla="*/ 7991475 w 7992269"/>
              <a:gd name="connsiteY1" fmla="*/ 115643 h 1169289"/>
              <a:gd name="connsiteX2" fmla="*/ 7992269 w 7992269"/>
              <a:gd name="connsiteY2" fmla="*/ 902741 h 1169289"/>
              <a:gd name="connsiteX3" fmla="*/ 7725721 w 7992269"/>
              <a:gd name="connsiteY3" fmla="*/ 1169289 h 1169289"/>
              <a:gd name="connsiteX4" fmla="*/ 2383 w 7992269"/>
              <a:gd name="connsiteY4" fmla="*/ 1169289 h 1169289"/>
              <a:gd name="connsiteX5" fmla="*/ 2383 w 7992269"/>
              <a:gd name="connsiteY5" fmla="*/ 1169289 h 1169289"/>
              <a:gd name="connsiteX6" fmla="*/ 0 w 7992269"/>
              <a:gd name="connsiteY6" fmla="*/ 115643 h 1169289"/>
              <a:gd name="connsiteX0" fmla="*/ 0 w 7992269"/>
              <a:gd name="connsiteY0" fmla="*/ 115643 h 1169289"/>
              <a:gd name="connsiteX1" fmla="*/ 7991475 w 7992269"/>
              <a:gd name="connsiteY1" fmla="*/ 115643 h 1169289"/>
              <a:gd name="connsiteX2" fmla="*/ 7992269 w 7992269"/>
              <a:gd name="connsiteY2" fmla="*/ 902741 h 1169289"/>
              <a:gd name="connsiteX3" fmla="*/ 7725721 w 7992269"/>
              <a:gd name="connsiteY3" fmla="*/ 1169289 h 1169289"/>
              <a:gd name="connsiteX4" fmla="*/ 2383 w 7992269"/>
              <a:gd name="connsiteY4" fmla="*/ 1169289 h 1169289"/>
              <a:gd name="connsiteX5" fmla="*/ 2383 w 7992269"/>
              <a:gd name="connsiteY5" fmla="*/ 1169289 h 1169289"/>
              <a:gd name="connsiteX6" fmla="*/ 0 w 7992269"/>
              <a:gd name="connsiteY6" fmla="*/ 115643 h 1169289"/>
              <a:gd name="connsiteX0" fmla="*/ 0 w 7992269"/>
              <a:gd name="connsiteY0" fmla="*/ 60337 h 1113983"/>
              <a:gd name="connsiteX1" fmla="*/ 7991475 w 7992269"/>
              <a:gd name="connsiteY1" fmla="*/ 60337 h 1113983"/>
              <a:gd name="connsiteX2" fmla="*/ 7992269 w 7992269"/>
              <a:gd name="connsiteY2" fmla="*/ 847435 h 1113983"/>
              <a:gd name="connsiteX3" fmla="*/ 7725721 w 7992269"/>
              <a:gd name="connsiteY3" fmla="*/ 1113983 h 1113983"/>
              <a:gd name="connsiteX4" fmla="*/ 2383 w 7992269"/>
              <a:gd name="connsiteY4" fmla="*/ 1113983 h 1113983"/>
              <a:gd name="connsiteX5" fmla="*/ 2383 w 7992269"/>
              <a:gd name="connsiteY5" fmla="*/ 1113983 h 1113983"/>
              <a:gd name="connsiteX6" fmla="*/ 0 w 7992269"/>
              <a:gd name="connsiteY6" fmla="*/ 60337 h 1113983"/>
              <a:gd name="connsiteX0" fmla="*/ 0 w 7992269"/>
              <a:gd name="connsiteY0" fmla="*/ 0 h 1053646"/>
              <a:gd name="connsiteX1" fmla="*/ 7991475 w 7992269"/>
              <a:gd name="connsiteY1" fmla="*/ 0 h 1053646"/>
              <a:gd name="connsiteX2" fmla="*/ 7992269 w 7992269"/>
              <a:gd name="connsiteY2" fmla="*/ 787098 h 1053646"/>
              <a:gd name="connsiteX3" fmla="*/ 7725721 w 7992269"/>
              <a:gd name="connsiteY3" fmla="*/ 1053646 h 1053646"/>
              <a:gd name="connsiteX4" fmla="*/ 2383 w 7992269"/>
              <a:gd name="connsiteY4" fmla="*/ 1053646 h 1053646"/>
              <a:gd name="connsiteX5" fmla="*/ 2383 w 7992269"/>
              <a:gd name="connsiteY5" fmla="*/ 1053646 h 1053646"/>
              <a:gd name="connsiteX6" fmla="*/ 0 w 7992269"/>
              <a:gd name="connsiteY6" fmla="*/ 0 h 105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92269" h="1053646">
                <a:moveTo>
                  <a:pt x="0" y="0"/>
                </a:moveTo>
                <a:lnTo>
                  <a:pt x="7991475" y="0"/>
                </a:lnTo>
                <a:cubicBezTo>
                  <a:pt x="7991740" y="262366"/>
                  <a:pt x="7992004" y="524732"/>
                  <a:pt x="7992269" y="787098"/>
                </a:cubicBezTo>
                <a:cubicBezTo>
                  <a:pt x="7992269" y="934308"/>
                  <a:pt x="7872931" y="1053646"/>
                  <a:pt x="7725721" y="1053646"/>
                </a:cubicBezTo>
                <a:lnTo>
                  <a:pt x="2383" y="1053646"/>
                </a:lnTo>
                <a:lnTo>
                  <a:pt x="2383" y="1053646"/>
                </a:lnTo>
                <a:cubicBezTo>
                  <a:pt x="1986" y="878038"/>
                  <a:pt x="1191" y="526823"/>
                  <a:pt x="0" y="0"/>
                </a:cubicBezTo>
                <a:close/>
              </a:path>
            </a:pathLst>
          </a:custGeom>
          <a:solidFill>
            <a:schemeClr val="accent4"/>
          </a:solidFill>
          <a:ln>
            <a:noFill/>
          </a:ln>
        </p:spPr>
        <p:txBody>
          <a:bodyPr lIns="360000" rIns="360000" anchor="ctr" anchorCtr="0"/>
          <a:lstStyle>
            <a:lvl1pPr marL="0" indent="0">
              <a:lnSpc>
                <a:spcPct val="90000"/>
              </a:lnSpc>
              <a:spcBef>
                <a:spcPts val="0"/>
              </a:spcBef>
              <a:buNone/>
              <a:defRPr sz="1800" b="0" cap="none"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7" name="Title Placeholder 1">
            <a:extLst>
              <a:ext uri="{FF2B5EF4-FFF2-40B4-BE49-F238E27FC236}">
                <a16:creationId xmlns:a16="http://schemas.microsoft.com/office/drawing/2014/main" id="{98EBEE86-4FB6-4C67-8052-6F52886A0E44}"/>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787539710"/>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10" name="Picture Placeholder 2"/>
          <p:cNvSpPr>
            <a:spLocks noGrp="1"/>
          </p:cNvSpPr>
          <p:nvPr>
            <p:ph type="pic" idx="1"/>
          </p:nvPr>
        </p:nvSpPr>
        <p:spPr>
          <a:xfrm>
            <a:off x="0" y="1160145"/>
            <a:ext cx="4561200" cy="3370705"/>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1" name="Picture Placeholder 2"/>
          <p:cNvSpPr>
            <a:spLocks noGrp="1"/>
          </p:cNvSpPr>
          <p:nvPr>
            <p:ph type="pic" idx="20"/>
          </p:nvPr>
        </p:nvSpPr>
        <p:spPr>
          <a:xfrm>
            <a:off x="4584821" y="1160145"/>
            <a:ext cx="4561200" cy="3370705"/>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2" name="Text Placeholder 15"/>
          <p:cNvSpPr>
            <a:spLocks noGrp="1"/>
          </p:cNvSpPr>
          <p:nvPr>
            <p:ph type="body" sz="quarter" idx="21" hasCustomPrompt="1"/>
          </p:nvPr>
        </p:nvSpPr>
        <p:spPr>
          <a:xfrm>
            <a:off x="0" y="1160145"/>
            <a:ext cx="2851200" cy="405000"/>
          </a:xfrm>
          <a:custGeom>
            <a:avLst/>
            <a:gdLst>
              <a:gd name="connsiteX0" fmla="*/ 225000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225000 w 2851200"/>
              <a:gd name="connsiteY8" fmla="*/ 0 h 450000"/>
              <a:gd name="connsiteX0" fmla="*/ 56162 w 2903818"/>
              <a:gd name="connsiteY0" fmla="*/ 0 h 450000"/>
              <a:gd name="connsiteX1" fmla="*/ 2903818 w 2903818"/>
              <a:gd name="connsiteY1" fmla="*/ 0 h 450000"/>
              <a:gd name="connsiteX2" fmla="*/ 2903818 w 2903818"/>
              <a:gd name="connsiteY2" fmla="*/ 0 h 450000"/>
              <a:gd name="connsiteX3" fmla="*/ 2903818 w 2903818"/>
              <a:gd name="connsiteY3" fmla="*/ 225000 h 450000"/>
              <a:gd name="connsiteX4" fmla="*/ 2678818 w 2903818"/>
              <a:gd name="connsiteY4" fmla="*/ 450000 h 450000"/>
              <a:gd name="connsiteX5" fmla="*/ 52618 w 2903818"/>
              <a:gd name="connsiteY5" fmla="*/ 450000 h 450000"/>
              <a:gd name="connsiteX6" fmla="*/ 52618 w 2903818"/>
              <a:gd name="connsiteY6" fmla="*/ 450000 h 450000"/>
              <a:gd name="connsiteX7" fmla="*/ 52618 w 2903818"/>
              <a:gd name="connsiteY7" fmla="*/ 225000 h 450000"/>
              <a:gd name="connsiteX8" fmla="*/ 56162 w 2903818"/>
              <a:gd name="connsiteY8" fmla="*/ 0 h 450000"/>
              <a:gd name="connsiteX0" fmla="*/ 3544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3544 w 2851200"/>
              <a:gd name="connsiteY8" fmla="*/ 0 h 450000"/>
              <a:gd name="connsiteX0" fmla="*/ 1263 w 2851301"/>
              <a:gd name="connsiteY0" fmla="*/ 0 h 450000"/>
              <a:gd name="connsiteX1" fmla="*/ 2851301 w 2851301"/>
              <a:gd name="connsiteY1" fmla="*/ 0 h 450000"/>
              <a:gd name="connsiteX2" fmla="*/ 2851301 w 2851301"/>
              <a:gd name="connsiteY2" fmla="*/ 0 h 450000"/>
              <a:gd name="connsiteX3" fmla="*/ 2851301 w 2851301"/>
              <a:gd name="connsiteY3" fmla="*/ 225000 h 450000"/>
              <a:gd name="connsiteX4" fmla="*/ 2626301 w 2851301"/>
              <a:gd name="connsiteY4" fmla="*/ 450000 h 450000"/>
              <a:gd name="connsiteX5" fmla="*/ 101 w 2851301"/>
              <a:gd name="connsiteY5" fmla="*/ 450000 h 450000"/>
              <a:gd name="connsiteX6" fmla="*/ 101 w 2851301"/>
              <a:gd name="connsiteY6" fmla="*/ 450000 h 450000"/>
              <a:gd name="connsiteX7" fmla="*/ 101 w 2851301"/>
              <a:gd name="connsiteY7" fmla="*/ 225000 h 450000"/>
              <a:gd name="connsiteX8" fmla="*/ 1263 w 2851301"/>
              <a:gd name="connsiteY8" fmla="*/ 0 h 450000"/>
              <a:gd name="connsiteX0" fmla="*/ 1162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1162 w 2851200"/>
              <a:gd name="connsiteY8" fmla="*/ 0 h 450000"/>
              <a:gd name="connsiteX0" fmla="*/ 1162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1162 w 2851200"/>
              <a:gd name="connsiteY7" fmla="*/ 0 h 4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200" h="450000">
                <a:moveTo>
                  <a:pt x="1162" y="0"/>
                </a:moveTo>
                <a:lnTo>
                  <a:pt x="2851200" y="0"/>
                </a:lnTo>
                <a:lnTo>
                  <a:pt x="2851200" y="0"/>
                </a:lnTo>
                <a:lnTo>
                  <a:pt x="2851200" y="225000"/>
                </a:lnTo>
                <a:cubicBezTo>
                  <a:pt x="2851200" y="349264"/>
                  <a:pt x="2750464" y="450000"/>
                  <a:pt x="2626200" y="450000"/>
                </a:cubicBezTo>
                <a:lnTo>
                  <a:pt x="0" y="450000"/>
                </a:lnTo>
                <a:lnTo>
                  <a:pt x="0" y="450000"/>
                </a:lnTo>
                <a:cubicBezTo>
                  <a:pt x="387" y="300000"/>
                  <a:pt x="775" y="150000"/>
                  <a:pt x="1162" y="0"/>
                </a:cubicBezTo>
                <a:close/>
              </a:path>
            </a:pathLst>
          </a:custGeom>
          <a:solidFill>
            <a:schemeClr val="accent4"/>
          </a:solidFill>
        </p:spPr>
        <p:txBody>
          <a:bodyPr lIns="180000" tIns="36000" anchor="ctr" anchorCtr="0"/>
          <a:lstStyle>
            <a:lvl1pPr marL="0" indent="0">
              <a:buNone/>
              <a:defRPr sz="1600">
                <a:solidFill>
                  <a:schemeClr val="bg1"/>
                </a:solidFill>
              </a:defRPr>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Click to edit text</a:t>
            </a:r>
          </a:p>
        </p:txBody>
      </p:sp>
      <p:sp>
        <p:nvSpPr>
          <p:cNvPr id="13" name="Text Placeholder 15"/>
          <p:cNvSpPr>
            <a:spLocks noGrp="1"/>
          </p:cNvSpPr>
          <p:nvPr>
            <p:ph type="body" sz="quarter" idx="15" hasCustomPrompt="1"/>
          </p:nvPr>
        </p:nvSpPr>
        <p:spPr>
          <a:xfrm>
            <a:off x="4584821" y="1160145"/>
            <a:ext cx="2851200" cy="405000"/>
          </a:xfrm>
          <a:custGeom>
            <a:avLst/>
            <a:gdLst>
              <a:gd name="connsiteX0" fmla="*/ 225000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225000 w 2851200"/>
              <a:gd name="connsiteY8" fmla="*/ 0 h 450000"/>
              <a:gd name="connsiteX0" fmla="*/ 56162 w 2903818"/>
              <a:gd name="connsiteY0" fmla="*/ 0 h 450000"/>
              <a:gd name="connsiteX1" fmla="*/ 2903818 w 2903818"/>
              <a:gd name="connsiteY1" fmla="*/ 0 h 450000"/>
              <a:gd name="connsiteX2" fmla="*/ 2903818 w 2903818"/>
              <a:gd name="connsiteY2" fmla="*/ 0 h 450000"/>
              <a:gd name="connsiteX3" fmla="*/ 2903818 w 2903818"/>
              <a:gd name="connsiteY3" fmla="*/ 225000 h 450000"/>
              <a:gd name="connsiteX4" fmla="*/ 2678818 w 2903818"/>
              <a:gd name="connsiteY4" fmla="*/ 450000 h 450000"/>
              <a:gd name="connsiteX5" fmla="*/ 52618 w 2903818"/>
              <a:gd name="connsiteY5" fmla="*/ 450000 h 450000"/>
              <a:gd name="connsiteX6" fmla="*/ 52618 w 2903818"/>
              <a:gd name="connsiteY6" fmla="*/ 450000 h 450000"/>
              <a:gd name="connsiteX7" fmla="*/ 52618 w 2903818"/>
              <a:gd name="connsiteY7" fmla="*/ 225000 h 450000"/>
              <a:gd name="connsiteX8" fmla="*/ 56162 w 2903818"/>
              <a:gd name="connsiteY8" fmla="*/ 0 h 450000"/>
              <a:gd name="connsiteX0" fmla="*/ 3544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3544 w 2851200"/>
              <a:gd name="connsiteY8" fmla="*/ 0 h 450000"/>
              <a:gd name="connsiteX0" fmla="*/ 1263 w 2851301"/>
              <a:gd name="connsiteY0" fmla="*/ 0 h 450000"/>
              <a:gd name="connsiteX1" fmla="*/ 2851301 w 2851301"/>
              <a:gd name="connsiteY1" fmla="*/ 0 h 450000"/>
              <a:gd name="connsiteX2" fmla="*/ 2851301 w 2851301"/>
              <a:gd name="connsiteY2" fmla="*/ 0 h 450000"/>
              <a:gd name="connsiteX3" fmla="*/ 2851301 w 2851301"/>
              <a:gd name="connsiteY3" fmla="*/ 225000 h 450000"/>
              <a:gd name="connsiteX4" fmla="*/ 2626301 w 2851301"/>
              <a:gd name="connsiteY4" fmla="*/ 450000 h 450000"/>
              <a:gd name="connsiteX5" fmla="*/ 101 w 2851301"/>
              <a:gd name="connsiteY5" fmla="*/ 450000 h 450000"/>
              <a:gd name="connsiteX6" fmla="*/ 101 w 2851301"/>
              <a:gd name="connsiteY6" fmla="*/ 450000 h 450000"/>
              <a:gd name="connsiteX7" fmla="*/ 101 w 2851301"/>
              <a:gd name="connsiteY7" fmla="*/ 225000 h 450000"/>
              <a:gd name="connsiteX8" fmla="*/ 1263 w 2851301"/>
              <a:gd name="connsiteY8" fmla="*/ 0 h 450000"/>
              <a:gd name="connsiteX0" fmla="*/ 1162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0 w 2851200"/>
              <a:gd name="connsiteY7" fmla="*/ 225000 h 450000"/>
              <a:gd name="connsiteX8" fmla="*/ 1162 w 2851200"/>
              <a:gd name="connsiteY8" fmla="*/ 0 h 450000"/>
              <a:gd name="connsiteX0" fmla="*/ 1162 w 2851200"/>
              <a:gd name="connsiteY0" fmla="*/ 0 h 450000"/>
              <a:gd name="connsiteX1" fmla="*/ 2851200 w 2851200"/>
              <a:gd name="connsiteY1" fmla="*/ 0 h 450000"/>
              <a:gd name="connsiteX2" fmla="*/ 2851200 w 2851200"/>
              <a:gd name="connsiteY2" fmla="*/ 0 h 450000"/>
              <a:gd name="connsiteX3" fmla="*/ 2851200 w 2851200"/>
              <a:gd name="connsiteY3" fmla="*/ 225000 h 450000"/>
              <a:gd name="connsiteX4" fmla="*/ 2626200 w 2851200"/>
              <a:gd name="connsiteY4" fmla="*/ 450000 h 450000"/>
              <a:gd name="connsiteX5" fmla="*/ 0 w 2851200"/>
              <a:gd name="connsiteY5" fmla="*/ 450000 h 450000"/>
              <a:gd name="connsiteX6" fmla="*/ 0 w 2851200"/>
              <a:gd name="connsiteY6" fmla="*/ 450000 h 450000"/>
              <a:gd name="connsiteX7" fmla="*/ 1162 w 2851200"/>
              <a:gd name="connsiteY7" fmla="*/ 0 h 4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200" h="450000">
                <a:moveTo>
                  <a:pt x="1162" y="0"/>
                </a:moveTo>
                <a:lnTo>
                  <a:pt x="2851200" y="0"/>
                </a:lnTo>
                <a:lnTo>
                  <a:pt x="2851200" y="0"/>
                </a:lnTo>
                <a:lnTo>
                  <a:pt x="2851200" y="225000"/>
                </a:lnTo>
                <a:cubicBezTo>
                  <a:pt x="2851200" y="349264"/>
                  <a:pt x="2750464" y="450000"/>
                  <a:pt x="2626200" y="450000"/>
                </a:cubicBezTo>
                <a:lnTo>
                  <a:pt x="0" y="450000"/>
                </a:lnTo>
                <a:lnTo>
                  <a:pt x="0" y="450000"/>
                </a:lnTo>
                <a:cubicBezTo>
                  <a:pt x="387" y="300000"/>
                  <a:pt x="775" y="150000"/>
                  <a:pt x="1162" y="0"/>
                </a:cubicBezTo>
                <a:close/>
              </a:path>
            </a:pathLst>
          </a:custGeom>
          <a:solidFill>
            <a:schemeClr val="accent4"/>
          </a:solidFill>
        </p:spPr>
        <p:txBody>
          <a:bodyPr lIns="180000" tIns="36000" anchor="ctr" anchorCtr="0"/>
          <a:lstStyle>
            <a:lvl1pPr marL="0" indent="0">
              <a:buNone/>
              <a:defRPr sz="1600">
                <a:solidFill>
                  <a:schemeClr val="bg1"/>
                </a:solidFill>
              </a:defRPr>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Click to edit text</a:t>
            </a:r>
          </a:p>
        </p:txBody>
      </p:sp>
      <p:sp>
        <p:nvSpPr>
          <p:cNvPr id="20" name="Footer Placeholder 19"/>
          <p:cNvSpPr>
            <a:spLocks noGrp="1"/>
          </p:cNvSpPr>
          <p:nvPr userDrawn="1">
            <p:ph type="ftr" sz="quarter" idx="11"/>
          </p:nvPr>
        </p:nvSpPr>
        <p:spPr/>
        <p:txBody>
          <a:bodyPr/>
          <a:lstStyle>
            <a:lvl1pPr>
              <a:defRPr>
                <a:solidFill>
                  <a:schemeClr val="tx2"/>
                </a:solidFill>
              </a:defRPr>
            </a:lvl1pPr>
          </a:lstStyle>
          <a:p>
            <a:r>
              <a:rPr lang="nl-NL" noProof="0"/>
              <a:t>Onregelmatig Werk en Gezondheid: "Lessen" uit de Luchtvaartsector</a:t>
            </a:r>
            <a:endParaRPr lang="en-GB" noProof="0" dirty="0"/>
          </a:p>
        </p:txBody>
      </p:sp>
      <p:sp>
        <p:nvSpPr>
          <p:cNvPr id="21" name="Slide Number Placeholder 20"/>
          <p:cNvSpPr>
            <a:spLocks noGrp="1"/>
          </p:cNvSpPr>
          <p:nvPr userDrawn="1">
            <p:ph type="sldNum" sz="quarter" idx="12"/>
          </p:nvPr>
        </p:nvSpPr>
        <p:spPr/>
        <p:txBody>
          <a:bodyPr/>
          <a:lstStyle>
            <a:lvl1pPr>
              <a:defRPr>
                <a:solidFill>
                  <a:schemeClr val="tx2"/>
                </a:solidFill>
              </a:defRPr>
            </a:lvl1pPr>
          </a:lstStyle>
          <a:p>
            <a:fld id="{015EBE98-414E-493A-9124-68D86CEA4F8A}" type="slidenum">
              <a:rPr lang="nl-NL" smtClean="0"/>
              <a:pPr/>
              <a:t>‹#›</a:t>
            </a:fld>
            <a:endParaRPr lang="nl-NL" dirty="0"/>
          </a:p>
        </p:txBody>
      </p:sp>
      <p:cxnSp>
        <p:nvCxnSpPr>
          <p:cNvPr id="19" name="Straight Connector 18"/>
          <p:cNvCxnSpPr/>
          <p:nvPr userDrawn="1"/>
        </p:nvCxnSpPr>
        <p:spPr bwMode="gray">
          <a:xfrm>
            <a:off x="8450017" y="4911786"/>
            <a:ext cx="0" cy="231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17C7520F-4D4A-4500-BE71-1C4D242EFAF7}"/>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41609217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bg/>
                                          </p:spTgt>
                                        </p:tgtEl>
                                        <p:attrNameLst>
                                          <p:attrName>style.visibility</p:attrName>
                                        </p:attrNameLst>
                                      </p:cBhvr>
                                      <p:to>
                                        <p:strVal val="visible"/>
                                      </p:to>
                                    </p:set>
                                    <p:animEffect transition="in" filter="wipe(left)">
                                      <p:cBhvr>
                                        <p:cTn id="7" dur="750"/>
                                        <p:tgtEl>
                                          <p:spTgt spid="12">
                                            <p:bg/>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wipe(left)">
                                      <p:cBhvr>
                                        <p:cTn id="10" dur="750"/>
                                        <p:tgtEl>
                                          <p:spTgt spid="12">
                                            <p:txEl>
                                              <p:pRg st="0" end="0"/>
                                            </p:txEl>
                                          </p:spTgt>
                                        </p:tgtEl>
                                      </p:cBhvr>
                                    </p:animEffect>
                                  </p:childTnLst>
                                </p:cTn>
                              </p:par>
                            </p:childTnLst>
                          </p:cTn>
                        </p:par>
                        <p:par>
                          <p:cTn id="11" fill="hold">
                            <p:stCondLst>
                              <p:cond delay="750"/>
                            </p:stCondLst>
                            <p:childTnLst>
                              <p:par>
                                <p:cTn id="12" presetID="22" presetClass="entr" presetSubtype="8" fill="hold" grpId="0" nodeType="afterEffect">
                                  <p:stCondLst>
                                    <p:cond delay="250"/>
                                  </p:stCondLst>
                                  <p:childTnLst>
                                    <p:set>
                                      <p:cBhvr>
                                        <p:cTn id="13" dur="1" fill="hold">
                                          <p:stCondLst>
                                            <p:cond delay="0"/>
                                          </p:stCondLst>
                                        </p:cTn>
                                        <p:tgtEl>
                                          <p:spTgt spid="13">
                                            <p:bg/>
                                          </p:spTgt>
                                        </p:tgtEl>
                                        <p:attrNameLst>
                                          <p:attrName>style.visibility</p:attrName>
                                        </p:attrNameLst>
                                      </p:cBhvr>
                                      <p:to>
                                        <p:strVal val="visible"/>
                                      </p:to>
                                    </p:set>
                                    <p:animEffect transition="in" filter="wipe(left)">
                                      <p:cBhvr>
                                        <p:cTn id="14" dur="750"/>
                                        <p:tgtEl>
                                          <p:spTgt spid="13">
                                            <p:bg/>
                                          </p:spTgt>
                                        </p:tgtEl>
                                      </p:cBhvr>
                                    </p:animEffect>
                                  </p:childTnLst>
                                </p:cTn>
                              </p:par>
                              <p:par>
                                <p:cTn id="15" presetID="22" presetClass="entr" presetSubtype="8" fill="hold" grpId="0" nodeType="withEffect">
                                  <p:stCondLst>
                                    <p:cond delay="250"/>
                                  </p:stCondLst>
                                  <p:childTnLst>
                                    <p:set>
                                      <p:cBhvr>
                                        <p:cTn id="16" dur="1" fill="hold">
                                          <p:stCondLst>
                                            <p:cond delay="0"/>
                                          </p:stCondLst>
                                        </p:cTn>
                                        <p:tgtEl>
                                          <p:spTgt spid="13">
                                            <p:txEl>
                                              <p:pRg st="0" end="0"/>
                                            </p:txEl>
                                          </p:spTgt>
                                        </p:tgtEl>
                                        <p:attrNameLst>
                                          <p:attrName>style.visibility</p:attrName>
                                        </p:attrNameLst>
                                      </p:cBhvr>
                                      <p:to>
                                        <p:strVal val="visible"/>
                                      </p:to>
                                    </p:set>
                                    <p:animEffect transition="in" filter="wipe(left)">
                                      <p:cBhvr>
                                        <p:cTn id="17"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2" presetClass="entr" presetSubtype="8"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wipe(left)">
                      <p:cBhvr>
                        <p:cTn dur="750"/>
                        <p:tgtEl>
                          <p:spTgt spid="12"/>
                        </p:tgtEl>
                      </p:cBhvr>
                    </p:animEffect>
                  </p:childTnLst>
                </p:cTn>
              </p:par>
            </p:tnLst>
          </p:tmpl>
          <p:tmpl lvl="1">
            <p:tnLst>
              <p:par>
                <p:cTn presetID="22" presetClass="entr" presetSubtype="8"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wipe(left)">
                      <p:cBhvr>
                        <p:cTn dur="750"/>
                        <p:tgtEl>
                          <p:spTgt spid="12"/>
                        </p:tgtEl>
                      </p:cBhvr>
                    </p:animEffect>
                  </p:childTnLst>
                </p:cTn>
              </p:par>
            </p:tnLst>
          </p:tmpl>
        </p:tmplLst>
      </p:bldP>
      <p:bldP spid="13" grpId="0" build="p" animBg="1">
        <p:tmplLst>
          <p:tmpl>
            <p:tnLst>
              <p:par>
                <p:cTn presetID="22" presetClass="entr" presetSubtype="8" fill="hold" nodeType="after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 lvl="1">
            <p:tnLst>
              <p:par>
                <p:cTn presetID="22" presetClass="entr" presetSubtype="8" fill="hold" nodeType="with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3" name="Content Placeholder 2"/>
          <p:cNvSpPr>
            <a:spLocks noGrp="1"/>
          </p:cNvSpPr>
          <p:nvPr>
            <p:ph idx="1"/>
          </p:nvPr>
        </p:nvSpPr>
        <p:spPr>
          <a:xfrm>
            <a:off x="792163" y="1030411"/>
            <a:ext cx="7773988" cy="325446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itle Placeholder 1">
            <a:extLst>
              <a:ext uri="{FF2B5EF4-FFF2-40B4-BE49-F238E27FC236}">
                <a16:creationId xmlns:a16="http://schemas.microsoft.com/office/drawing/2014/main" id="{8097D9F0-D6F1-4696-AB0F-FFDD1AE3D6B0}"/>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084607691"/>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4 Pictures">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5" name="Slide Number Placeholder 4"/>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6" name="Picture Placeholder 2"/>
          <p:cNvSpPr>
            <a:spLocks noGrp="1"/>
          </p:cNvSpPr>
          <p:nvPr>
            <p:ph type="pic" idx="1"/>
          </p:nvPr>
        </p:nvSpPr>
        <p:spPr>
          <a:xfrm>
            <a:off x="681054" y="1160146"/>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7" name="Picture Placeholder 2"/>
          <p:cNvSpPr>
            <a:spLocks noGrp="1"/>
          </p:cNvSpPr>
          <p:nvPr>
            <p:ph type="pic" idx="13"/>
          </p:nvPr>
        </p:nvSpPr>
        <p:spPr>
          <a:xfrm>
            <a:off x="4898125" y="1160146"/>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8" name="Picture Placeholder 2"/>
          <p:cNvSpPr>
            <a:spLocks noGrp="1"/>
          </p:cNvSpPr>
          <p:nvPr>
            <p:ph type="pic" idx="14"/>
          </p:nvPr>
        </p:nvSpPr>
        <p:spPr>
          <a:xfrm>
            <a:off x="681692" y="2939727"/>
            <a:ext cx="37728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9" name="Picture Placeholder 2"/>
          <p:cNvSpPr>
            <a:spLocks noGrp="1"/>
          </p:cNvSpPr>
          <p:nvPr>
            <p:ph type="pic" idx="15"/>
          </p:nvPr>
        </p:nvSpPr>
        <p:spPr>
          <a:xfrm>
            <a:off x="4898125" y="2939727"/>
            <a:ext cx="3772800" cy="1416768"/>
          </a:xfrm>
          <a:custGeom>
            <a:avLst/>
            <a:gdLst>
              <a:gd name="connsiteX0" fmla="*/ 262370 w 3772800"/>
              <a:gd name="connsiteY0" fmla="*/ 0 h 1574187"/>
              <a:gd name="connsiteX1" fmla="*/ 3772800 w 3772800"/>
              <a:gd name="connsiteY1" fmla="*/ 0 h 1574187"/>
              <a:gd name="connsiteX2" fmla="*/ 3772800 w 3772800"/>
              <a:gd name="connsiteY2" fmla="*/ 0 h 1574187"/>
              <a:gd name="connsiteX3" fmla="*/ 3772800 w 3772800"/>
              <a:gd name="connsiteY3" fmla="*/ 1311817 h 1574187"/>
              <a:gd name="connsiteX4" fmla="*/ 3510430 w 3772800"/>
              <a:gd name="connsiteY4" fmla="*/ 1574187 h 1574187"/>
              <a:gd name="connsiteX5" fmla="*/ 0 w 3772800"/>
              <a:gd name="connsiteY5" fmla="*/ 1574187 h 1574187"/>
              <a:gd name="connsiteX6" fmla="*/ 0 w 3772800"/>
              <a:gd name="connsiteY6" fmla="*/ 1574187 h 1574187"/>
              <a:gd name="connsiteX7" fmla="*/ 0 w 3772800"/>
              <a:gd name="connsiteY7" fmla="*/ 262370 h 1574187"/>
              <a:gd name="connsiteX8" fmla="*/ 262370 w 3772800"/>
              <a:gd name="connsiteY8" fmla="*/ 0 h 1574187"/>
              <a:gd name="connsiteX0" fmla="*/ 64513 w 3836881"/>
              <a:gd name="connsiteY0" fmla="*/ 0 h 1574187"/>
              <a:gd name="connsiteX1" fmla="*/ 3836881 w 3836881"/>
              <a:gd name="connsiteY1" fmla="*/ 0 h 1574187"/>
              <a:gd name="connsiteX2" fmla="*/ 3836881 w 3836881"/>
              <a:gd name="connsiteY2" fmla="*/ 0 h 1574187"/>
              <a:gd name="connsiteX3" fmla="*/ 3836881 w 3836881"/>
              <a:gd name="connsiteY3" fmla="*/ 1311817 h 1574187"/>
              <a:gd name="connsiteX4" fmla="*/ 3574511 w 3836881"/>
              <a:gd name="connsiteY4" fmla="*/ 1574187 h 1574187"/>
              <a:gd name="connsiteX5" fmla="*/ 64081 w 3836881"/>
              <a:gd name="connsiteY5" fmla="*/ 1574187 h 1574187"/>
              <a:gd name="connsiteX6" fmla="*/ 64081 w 3836881"/>
              <a:gd name="connsiteY6" fmla="*/ 1574187 h 1574187"/>
              <a:gd name="connsiteX7" fmla="*/ 64081 w 3836881"/>
              <a:gd name="connsiteY7" fmla="*/ 262370 h 1574187"/>
              <a:gd name="connsiteX8" fmla="*/ 64513 w 3836881"/>
              <a:gd name="connsiteY8" fmla="*/ 0 h 1574187"/>
              <a:gd name="connsiteX0" fmla="*/ 432 w 3772800"/>
              <a:gd name="connsiteY0" fmla="*/ 0 h 1574187"/>
              <a:gd name="connsiteX1" fmla="*/ 3772800 w 3772800"/>
              <a:gd name="connsiteY1" fmla="*/ 0 h 1574187"/>
              <a:gd name="connsiteX2" fmla="*/ 3772800 w 3772800"/>
              <a:gd name="connsiteY2" fmla="*/ 0 h 1574187"/>
              <a:gd name="connsiteX3" fmla="*/ 3772800 w 3772800"/>
              <a:gd name="connsiteY3" fmla="*/ 1311817 h 1574187"/>
              <a:gd name="connsiteX4" fmla="*/ 3510430 w 3772800"/>
              <a:gd name="connsiteY4" fmla="*/ 1574187 h 1574187"/>
              <a:gd name="connsiteX5" fmla="*/ 0 w 3772800"/>
              <a:gd name="connsiteY5" fmla="*/ 1574187 h 1574187"/>
              <a:gd name="connsiteX6" fmla="*/ 0 w 3772800"/>
              <a:gd name="connsiteY6" fmla="*/ 1574187 h 1574187"/>
              <a:gd name="connsiteX7" fmla="*/ 0 w 3772800"/>
              <a:gd name="connsiteY7" fmla="*/ 262370 h 1574187"/>
              <a:gd name="connsiteX8" fmla="*/ 432 w 3772800"/>
              <a:gd name="connsiteY8" fmla="*/ 0 h 157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2800" h="1574187">
                <a:moveTo>
                  <a:pt x="432" y="0"/>
                </a:moveTo>
                <a:lnTo>
                  <a:pt x="3772800" y="0"/>
                </a:lnTo>
                <a:lnTo>
                  <a:pt x="3772800" y="0"/>
                </a:lnTo>
                <a:lnTo>
                  <a:pt x="3772800" y="1311817"/>
                </a:lnTo>
                <a:cubicBezTo>
                  <a:pt x="3772800" y="1456720"/>
                  <a:pt x="3655333" y="1574187"/>
                  <a:pt x="3510430" y="1574187"/>
                </a:cubicBezTo>
                <a:lnTo>
                  <a:pt x="0" y="1574187"/>
                </a:lnTo>
                <a:lnTo>
                  <a:pt x="0" y="1574187"/>
                </a:lnTo>
                <a:lnTo>
                  <a:pt x="0" y="262370"/>
                </a:lnTo>
                <a:cubicBezTo>
                  <a:pt x="0" y="117467"/>
                  <a:pt x="216" y="131185"/>
                  <a:pt x="432" y="0"/>
                </a:cubicBezTo>
                <a:close/>
              </a:path>
            </a:pathLst>
          </a:cu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0" name="Text Placeholder 2"/>
          <p:cNvSpPr>
            <a:spLocks noGrp="1"/>
          </p:cNvSpPr>
          <p:nvPr>
            <p:ph type="body" idx="16" hasCustomPrompt="1"/>
          </p:nvPr>
        </p:nvSpPr>
        <p:spPr>
          <a:xfrm>
            <a:off x="681038" y="2579040"/>
            <a:ext cx="37728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1" name="Text Placeholder 2"/>
          <p:cNvSpPr>
            <a:spLocks noGrp="1"/>
          </p:cNvSpPr>
          <p:nvPr>
            <p:ph type="body" idx="17" hasCustomPrompt="1"/>
          </p:nvPr>
        </p:nvSpPr>
        <p:spPr>
          <a:xfrm>
            <a:off x="4898125" y="2579040"/>
            <a:ext cx="37728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2" name="Text Placeholder 2"/>
          <p:cNvSpPr>
            <a:spLocks noGrp="1"/>
          </p:cNvSpPr>
          <p:nvPr>
            <p:ph type="body" idx="18" hasCustomPrompt="1"/>
          </p:nvPr>
        </p:nvSpPr>
        <p:spPr>
          <a:xfrm>
            <a:off x="681692" y="4352142"/>
            <a:ext cx="37728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3" name="Text Placeholder 2"/>
          <p:cNvSpPr>
            <a:spLocks noGrp="1"/>
          </p:cNvSpPr>
          <p:nvPr>
            <p:ph type="body" idx="19" hasCustomPrompt="1"/>
          </p:nvPr>
        </p:nvSpPr>
        <p:spPr>
          <a:xfrm>
            <a:off x="4898125" y="4352142"/>
            <a:ext cx="37728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master text styles</a:t>
            </a:r>
          </a:p>
        </p:txBody>
      </p:sp>
      <p:sp>
        <p:nvSpPr>
          <p:cNvPr id="14" name="Title Placeholder 1">
            <a:extLst>
              <a:ext uri="{FF2B5EF4-FFF2-40B4-BE49-F238E27FC236}">
                <a16:creationId xmlns:a16="http://schemas.microsoft.com/office/drawing/2014/main" id="{9917BA5F-AB81-4F5E-9466-9D03FC92AFA7}"/>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384780285"/>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6 Pictures">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5" name="Slide Number Placeholder 4"/>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6" name="Picture Placeholder 2"/>
          <p:cNvSpPr>
            <a:spLocks noGrp="1"/>
          </p:cNvSpPr>
          <p:nvPr>
            <p:ph type="pic" idx="1"/>
          </p:nvPr>
        </p:nvSpPr>
        <p:spPr>
          <a:xfrm>
            <a:off x="681054" y="1160146"/>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7" name="Picture Placeholder 2"/>
          <p:cNvSpPr>
            <a:spLocks noGrp="1"/>
          </p:cNvSpPr>
          <p:nvPr>
            <p:ph type="pic" idx="13"/>
          </p:nvPr>
        </p:nvSpPr>
        <p:spPr>
          <a:xfrm>
            <a:off x="3433989" y="1160146"/>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8" name="Picture Placeholder 2"/>
          <p:cNvSpPr>
            <a:spLocks noGrp="1"/>
          </p:cNvSpPr>
          <p:nvPr>
            <p:ph type="pic" idx="14"/>
          </p:nvPr>
        </p:nvSpPr>
        <p:spPr>
          <a:xfrm>
            <a:off x="681692" y="2939727"/>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0" name="Text Placeholder 2"/>
          <p:cNvSpPr>
            <a:spLocks noGrp="1"/>
          </p:cNvSpPr>
          <p:nvPr>
            <p:ph type="body" idx="16" hasCustomPrompt="1"/>
          </p:nvPr>
        </p:nvSpPr>
        <p:spPr>
          <a:xfrm>
            <a:off x="681038" y="2579040"/>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1" name="Text Placeholder 2"/>
          <p:cNvSpPr>
            <a:spLocks noGrp="1"/>
          </p:cNvSpPr>
          <p:nvPr>
            <p:ph type="body" idx="17" hasCustomPrompt="1"/>
          </p:nvPr>
        </p:nvSpPr>
        <p:spPr>
          <a:xfrm>
            <a:off x="3433989" y="2579040"/>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2" name="Text Placeholder 2"/>
          <p:cNvSpPr>
            <a:spLocks noGrp="1"/>
          </p:cNvSpPr>
          <p:nvPr>
            <p:ph type="body" idx="18" hasCustomPrompt="1"/>
          </p:nvPr>
        </p:nvSpPr>
        <p:spPr>
          <a:xfrm>
            <a:off x="681692" y="4352142"/>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3" name="Text Placeholder 2"/>
          <p:cNvSpPr>
            <a:spLocks noGrp="1"/>
          </p:cNvSpPr>
          <p:nvPr>
            <p:ph type="body" idx="19" hasCustomPrompt="1"/>
          </p:nvPr>
        </p:nvSpPr>
        <p:spPr>
          <a:xfrm>
            <a:off x="3434308" y="4352142"/>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8" name="Picture Placeholder 2"/>
          <p:cNvSpPr>
            <a:spLocks noGrp="1"/>
          </p:cNvSpPr>
          <p:nvPr>
            <p:ph type="pic" idx="20"/>
          </p:nvPr>
        </p:nvSpPr>
        <p:spPr>
          <a:xfrm>
            <a:off x="3434308" y="2939727"/>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19" name="Picture Placeholder 2"/>
          <p:cNvSpPr>
            <a:spLocks noGrp="1"/>
          </p:cNvSpPr>
          <p:nvPr>
            <p:ph type="pic" idx="21"/>
          </p:nvPr>
        </p:nvSpPr>
        <p:spPr>
          <a:xfrm>
            <a:off x="6186925" y="1160146"/>
            <a:ext cx="2484000" cy="1416768"/>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20" name="Picture Placeholder 2"/>
          <p:cNvSpPr>
            <a:spLocks noGrp="1"/>
          </p:cNvSpPr>
          <p:nvPr>
            <p:ph type="pic" idx="22"/>
          </p:nvPr>
        </p:nvSpPr>
        <p:spPr>
          <a:xfrm>
            <a:off x="6186925" y="2939727"/>
            <a:ext cx="2484000" cy="1416768"/>
          </a:xfrm>
          <a:custGeom>
            <a:avLst/>
            <a:gdLst>
              <a:gd name="connsiteX0" fmla="*/ 262370 w 2484000"/>
              <a:gd name="connsiteY0" fmla="*/ 0 h 1574187"/>
              <a:gd name="connsiteX1" fmla="*/ 2484000 w 2484000"/>
              <a:gd name="connsiteY1" fmla="*/ 0 h 1574187"/>
              <a:gd name="connsiteX2" fmla="*/ 2484000 w 2484000"/>
              <a:gd name="connsiteY2" fmla="*/ 0 h 1574187"/>
              <a:gd name="connsiteX3" fmla="*/ 2484000 w 2484000"/>
              <a:gd name="connsiteY3" fmla="*/ 1311817 h 1574187"/>
              <a:gd name="connsiteX4" fmla="*/ 2221630 w 2484000"/>
              <a:gd name="connsiteY4" fmla="*/ 1574187 h 1574187"/>
              <a:gd name="connsiteX5" fmla="*/ 0 w 2484000"/>
              <a:gd name="connsiteY5" fmla="*/ 1574187 h 1574187"/>
              <a:gd name="connsiteX6" fmla="*/ 0 w 2484000"/>
              <a:gd name="connsiteY6" fmla="*/ 1574187 h 1574187"/>
              <a:gd name="connsiteX7" fmla="*/ 0 w 2484000"/>
              <a:gd name="connsiteY7" fmla="*/ 262370 h 1574187"/>
              <a:gd name="connsiteX8" fmla="*/ 262370 w 2484000"/>
              <a:gd name="connsiteY8" fmla="*/ 0 h 1574187"/>
              <a:gd name="connsiteX0" fmla="*/ 64513 w 2548080"/>
              <a:gd name="connsiteY0" fmla="*/ 0 h 1574187"/>
              <a:gd name="connsiteX1" fmla="*/ 2548080 w 2548080"/>
              <a:gd name="connsiteY1" fmla="*/ 0 h 1574187"/>
              <a:gd name="connsiteX2" fmla="*/ 2548080 w 2548080"/>
              <a:gd name="connsiteY2" fmla="*/ 0 h 1574187"/>
              <a:gd name="connsiteX3" fmla="*/ 2548080 w 2548080"/>
              <a:gd name="connsiteY3" fmla="*/ 1311817 h 1574187"/>
              <a:gd name="connsiteX4" fmla="*/ 2285710 w 2548080"/>
              <a:gd name="connsiteY4" fmla="*/ 1574187 h 1574187"/>
              <a:gd name="connsiteX5" fmla="*/ 64080 w 2548080"/>
              <a:gd name="connsiteY5" fmla="*/ 1574187 h 1574187"/>
              <a:gd name="connsiteX6" fmla="*/ 64080 w 2548080"/>
              <a:gd name="connsiteY6" fmla="*/ 1574187 h 1574187"/>
              <a:gd name="connsiteX7" fmla="*/ 64080 w 2548080"/>
              <a:gd name="connsiteY7" fmla="*/ 262370 h 1574187"/>
              <a:gd name="connsiteX8" fmla="*/ 64513 w 2548080"/>
              <a:gd name="connsiteY8" fmla="*/ 0 h 1574187"/>
              <a:gd name="connsiteX0" fmla="*/ 433 w 2484000"/>
              <a:gd name="connsiteY0" fmla="*/ 0 h 1574187"/>
              <a:gd name="connsiteX1" fmla="*/ 2484000 w 2484000"/>
              <a:gd name="connsiteY1" fmla="*/ 0 h 1574187"/>
              <a:gd name="connsiteX2" fmla="*/ 2484000 w 2484000"/>
              <a:gd name="connsiteY2" fmla="*/ 0 h 1574187"/>
              <a:gd name="connsiteX3" fmla="*/ 2484000 w 2484000"/>
              <a:gd name="connsiteY3" fmla="*/ 1311817 h 1574187"/>
              <a:gd name="connsiteX4" fmla="*/ 2221630 w 2484000"/>
              <a:gd name="connsiteY4" fmla="*/ 1574187 h 1574187"/>
              <a:gd name="connsiteX5" fmla="*/ 0 w 2484000"/>
              <a:gd name="connsiteY5" fmla="*/ 1574187 h 1574187"/>
              <a:gd name="connsiteX6" fmla="*/ 0 w 2484000"/>
              <a:gd name="connsiteY6" fmla="*/ 1574187 h 1574187"/>
              <a:gd name="connsiteX7" fmla="*/ 0 w 2484000"/>
              <a:gd name="connsiteY7" fmla="*/ 262370 h 1574187"/>
              <a:gd name="connsiteX8" fmla="*/ 433 w 2484000"/>
              <a:gd name="connsiteY8" fmla="*/ 0 h 157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4000" h="1574187">
                <a:moveTo>
                  <a:pt x="433" y="0"/>
                </a:moveTo>
                <a:lnTo>
                  <a:pt x="2484000" y="0"/>
                </a:lnTo>
                <a:lnTo>
                  <a:pt x="2484000" y="0"/>
                </a:lnTo>
                <a:lnTo>
                  <a:pt x="2484000" y="1311817"/>
                </a:lnTo>
                <a:cubicBezTo>
                  <a:pt x="2484000" y="1456720"/>
                  <a:pt x="2366533" y="1574187"/>
                  <a:pt x="2221630" y="1574187"/>
                </a:cubicBezTo>
                <a:lnTo>
                  <a:pt x="0" y="1574187"/>
                </a:lnTo>
                <a:lnTo>
                  <a:pt x="0" y="1574187"/>
                </a:lnTo>
                <a:lnTo>
                  <a:pt x="0" y="262370"/>
                </a:lnTo>
                <a:cubicBezTo>
                  <a:pt x="0" y="117467"/>
                  <a:pt x="216" y="131185"/>
                  <a:pt x="433" y="0"/>
                </a:cubicBezTo>
                <a:close/>
              </a:path>
            </a:pathLst>
          </a:cu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dirty="0"/>
          </a:p>
        </p:txBody>
      </p:sp>
      <p:sp>
        <p:nvSpPr>
          <p:cNvPr id="21" name="Text Placeholder 2"/>
          <p:cNvSpPr>
            <a:spLocks noGrp="1"/>
          </p:cNvSpPr>
          <p:nvPr>
            <p:ph type="body" idx="23" hasCustomPrompt="1"/>
          </p:nvPr>
        </p:nvSpPr>
        <p:spPr>
          <a:xfrm>
            <a:off x="6186925" y="2579040"/>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22" name="Text Placeholder 2"/>
          <p:cNvSpPr>
            <a:spLocks noGrp="1"/>
          </p:cNvSpPr>
          <p:nvPr>
            <p:ph type="body" idx="24" hasCustomPrompt="1"/>
          </p:nvPr>
        </p:nvSpPr>
        <p:spPr>
          <a:xfrm>
            <a:off x="6186925" y="4352142"/>
            <a:ext cx="2484000" cy="246240"/>
          </a:xfrm>
          <a:prstGeom prst="rect">
            <a:avLst/>
          </a:prstGeom>
          <a:noFill/>
          <a:ln>
            <a:noFill/>
          </a:ln>
        </p:spPr>
        <p:txBody>
          <a:bodyPr lIns="0" rIns="90000" anchor="t" anchorCtr="0"/>
          <a:lstStyle>
            <a:lvl1pPr marL="0" indent="0">
              <a:buNone/>
              <a:defRPr sz="14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17" name="Title Placeholder 1">
            <a:extLst>
              <a:ext uri="{FF2B5EF4-FFF2-40B4-BE49-F238E27FC236}">
                <a16:creationId xmlns:a16="http://schemas.microsoft.com/office/drawing/2014/main" id="{CE8FBC10-4CD7-4EBB-B400-7928991A3795}"/>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311206579"/>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Picture Logo whit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bwMode="gray"/>
        <p:txBody>
          <a:bodyPr/>
          <a:lstStyle>
            <a:lvl1pPr>
              <a:defRPr>
                <a:solidFill>
                  <a:schemeClr val="bg1"/>
                </a:solidFill>
              </a:defRPr>
            </a:lvl1pPr>
          </a:lstStyle>
          <a:p>
            <a:r>
              <a:rPr lang="nl-NL" noProof="0"/>
              <a:t>Onregelmatig Werk en Gezondheid: "Lessen" uit de Luchtvaartsector</a:t>
            </a:r>
            <a:endParaRPr lang="en-GB" noProof="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015EBE98-414E-493A-9124-68D86CEA4F8A}" type="slidenum">
              <a:rPr lang="nl-NL" smtClean="0"/>
              <a:pPr/>
              <a:t>‹#›</a:t>
            </a:fld>
            <a:endParaRPr lang="nl-NL" dirty="0"/>
          </a:p>
        </p:txBody>
      </p:sp>
      <p:cxnSp>
        <p:nvCxnSpPr>
          <p:cNvPr id="15" name="Straight Connector 14"/>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oup 4"/>
          <p:cNvGrpSpPr>
            <a:grpSpLocks noChangeAspect="1"/>
          </p:cNvGrpSpPr>
          <p:nvPr userDrawn="1"/>
        </p:nvGrpSpPr>
        <p:grpSpPr bwMode="auto">
          <a:xfrm>
            <a:off x="146050" y="128588"/>
            <a:ext cx="473075" cy="609600"/>
            <a:chOff x="92" y="81"/>
            <a:chExt cx="298" cy="384"/>
          </a:xfrm>
        </p:grpSpPr>
        <p:sp>
          <p:nvSpPr>
            <p:cNvPr id="31" name="AutoShape 3"/>
            <p:cNvSpPr>
              <a:spLocks noChangeAspect="1" noChangeArrowheads="1" noTextEdit="1"/>
            </p:cNvSpPr>
            <p:nvPr userDrawn="1"/>
          </p:nvSpPr>
          <p:spPr bwMode="auto">
            <a:xfrm>
              <a:off x="92" y="81"/>
              <a:ext cx="298"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5"/>
            <p:cNvSpPr>
              <a:spLocks/>
            </p:cNvSpPr>
            <p:nvPr userDrawn="1"/>
          </p:nvSpPr>
          <p:spPr bwMode="auto">
            <a:xfrm>
              <a:off x="273" y="78"/>
              <a:ext cx="82" cy="64"/>
            </a:xfrm>
            <a:custGeom>
              <a:avLst/>
              <a:gdLst>
                <a:gd name="T0" fmla="*/ 4 w 51"/>
                <a:gd name="T1" fmla="*/ 20 h 40"/>
                <a:gd name="T2" fmla="*/ 11 w 51"/>
                <a:gd name="T3" fmla="*/ 26 h 40"/>
                <a:gd name="T4" fmla="*/ 12 w 51"/>
                <a:gd name="T5" fmla="*/ 35 h 40"/>
                <a:gd name="T6" fmla="*/ 14 w 51"/>
                <a:gd name="T7" fmla="*/ 40 h 40"/>
                <a:gd name="T8" fmla="*/ 15 w 51"/>
                <a:gd name="T9" fmla="*/ 40 h 40"/>
                <a:gd name="T10" fmla="*/ 23 w 51"/>
                <a:gd name="T11" fmla="*/ 25 h 40"/>
                <a:gd name="T12" fmla="*/ 46 w 51"/>
                <a:gd name="T13" fmla="*/ 8 h 40"/>
                <a:gd name="T14" fmla="*/ 50 w 51"/>
                <a:gd name="T15" fmla="*/ 2 h 40"/>
                <a:gd name="T16" fmla="*/ 42 w 51"/>
                <a:gd name="T17" fmla="*/ 3 h 40"/>
                <a:gd name="T18" fmla="*/ 16 w 51"/>
                <a:gd name="T19" fmla="*/ 16 h 40"/>
                <a:gd name="T20" fmla="*/ 1 w 51"/>
                <a:gd name="T21" fmla="*/ 17 h 40"/>
                <a:gd name="T22" fmla="*/ 1 w 51"/>
                <a:gd name="T23" fmla="*/ 18 h 40"/>
                <a:gd name="T24" fmla="*/ 3 w 51"/>
                <a:gd name="T25" fmla="*/ 22 h 40"/>
                <a:gd name="T26" fmla="*/ 4 w 51"/>
                <a:gd name="T2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0">
                  <a:moveTo>
                    <a:pt x="4" y="20"/>
                  </a:moveTo>
                  <a:cubicBezTo>
                    <a:pt x="6" y="19"/>
                    <a:pt x="9" y="22"/>
                    <a:pt x="11" y="26"/>
                  </a:cubicBezTo>
                  <a:cubicBezTo>
                    <a:pt x="13" y="30"/>
                    <a:pt x="13" y="34"/>
                    <a:pt x="12" y="35"/>
                  </a:cubicBezTo>
                  <a:cubicBezTo>
                    <a:pt x="12" y="35"/>
                    <a:pt x="14" y="39"/>
                    <a:pt x="14" y="40"/>
                  </a:cubicBezTo>
                  <a:cubicBezTo>
                    <a:pt x="15" y="40"/>
                    <a:pt x="15" y="40"/>
                    <a:pt x="15" y="40"/>
                  </a:cubicBezTo>
                  <a:cubicBezTo>
                    <a:pt x="15" y="39"/>
                    <a:pt x="23" y="25"/>
                    <a:pt x="23" y="25"/>
                  </a:cubicBezTo>
                  <a:cubicBezTo>
                    <a:pt x="23" y="25"/>
                    <a:pt x="45" y="10"/>
                    <a:pt x="46" y="8"/>
                  </a:cubicBezTo>
                  <a:cubicBezTo>
                    <a:pt x="48" y="7"/>
                    <a:pt x="51" y="3"/>
                    <a:pt x="50" y="2"/>
                  </a:cubicBezTo>
                  <a:cubicBezTo>
                    <a:pt x="49" y="0"/>
                    <a:pt x="42" y="3"/>
                    <a:pt x="42" y="3"/>
                  </a:cubicBezTo>
                  <a:cubicBezTo>
                    <a:pt x="16" y="16"/>
                    <a:pt x="16" y="16"/>
                    <a:pt x="16" y="16"/>
                  </a:cubicBezTo>
                  <a:cubicBezTo>
                    <a:pt x="16" y="16"/>
                    <a:pt x="2" y="17"/>
                    <a:pt x="1" y="17"/>
                  </a:cubicBezTo>
                  <a:cubicBezTo>
                    <a:pt x="0" y="17"/>
                    <a:pt x="1" y="18"/>
                    <a:pt x="1" y="18"/>
                  </a:cubicBezTo>
                  <a:cubicBezTo>
                    <a:pt x="3" y="22"/>
                    <a:pt x="3" y="22"/>
                    <a:pt x="3" y="22"/>
                  </a:cubicBezTo>
                  <a:cubicBezTo>
                    <a:pt x="3" y="21"/>
                    <a:pt x="4" y="20"/>
                    <a:pt x="4"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6"/>
            <p:cNvSpPr>
              <a:spLocks/>
            </p:cNvSpPr>
            <p:nvPr userDrawn="1"/>
          </p:nvSpPr>
          <p:spPr bwMode="auto">
            <a:xfrm>
              <a:off x="275" y="116"/>
              <a:ext cx="11" cy="19"/>
            </a:xfrm>
            <a:custGeom>
              <a:avLst/>
              <a:gdLst>
                <a:gd name="T0" fmla="*/ 5 w 7"/>
                <a:gd name="T1" fmla="*/ 5 h 12"/>
                <a:gd name="T2" fmla="*/ 1 w 7"/>
                <a:gd name="T3" fmla="*/ 1 h 12"/>
                <a:gd name="T4" fmla="*/ 1 w 7"/>
                <a:gd name="T5" fmla="*/ 8 h 12"/>
                <a:gd name="T6" fmla="*/ 5 w 7"/>
                <a:gd name="T7" fmla="*/ 12 h 12"/>
                <a:gd name="T8" fmla="*/ 5 w 7"/>
                <a:gd name="T9" fmla="*/ 5 h 12"/>
              </a:gdLst>
              <a:ahLst/>
              <a:cxnLst>
                <a:cxn ang="0">
                  <a:pos x="T0" y="T1"/>
                </a:cxn>
                <a:cxn ang="0">
                  <a:pos x="T2" y="T3"/>
                </a:cxn>
                <a:cxn ang="0">
                  <a:pos x="T4" y="T5"/>
                </a:cxn>
                <a:cxn ang="0">
                  <a:pos x="T6" y="T7"/>
                </a:cxn>
                <a:cxn ang="0">
                  <a:pos x="T8" y="T9"/>
                </a:cxn>
              </a:cxnLst>
              <a:rect l="0" t="0" r="r" b="b"/>
              <a:pathLst>
                <a:path w="7" h="12">
                  <a:moveTo>
                    <a:pt x="5" y="5"/>
                  </a:moveTo>
                  <a:cubicBezTo>
                    <a:pt x="4" y="2"/>
                    <a:pt x="2" y="0"/>
                    <a:pt x="1" y="1"/>
                  </a:cubicBezTo>
                  <a:cubicBezTo>
                    <a:pt x="0" y="2"/>
                    <a:pt x="0" y="5"/>
                    <a:pt x="1" y="8"/>
                  </a:cubicBezTo>
                  <a:cubicBezTo>
                    <a:pt x="2" y="11"/>
                    <a:pt x="4" y="12"/>
                    <a:pt x="5" y="12"/>
                  </a:cubicBezTo>
                  <a:cubicBezTo>
                    <a:pt x="7" y="11"/>
                    <a:pt x="7" y="8"/>
                    <a:pt x="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7"/>
            <p:cNvSpPr>
              <a:spLocks/>
            </p:cNvSpPr>
            <p:nvPr userDrawn="1"/>
          </p:nvSpPr>
          <p:spPr bwMode="auto">
            <a:xfrm>
              <a:off x="122" y="391"/>
              <a:ext cx="101" cy="80"/>
            </a:xfrm>
            <a:custGeom>
              <a:avLst/>
              <a:gdLst>
                <a:gd name="T0" fmla="*/ 63 w 63"/>
                <a:gd name="T1" fmla="*/ 34 h 50"/>
                <a:gd name="T2" fmla="*/ 34 w 63"/>
                <a:gd name="T3" fmla="*/ 31 h 50"/>
                <a:gd name="T4" fmla="*/ 34 w 63"/>
                <a:gd name="T5" fmla="*/ 31 h 50"/>
                <a:gd name="T6" fmla="*/ 47 w 63"/>
                <a:gd name="T7" fmla="*/ 20 h 50"/>
                <a:gd name="T8" fmla="*/ 47 w 63"/>
                <a:gd name="T9" fmla="*/ 20 h 50"/>
                <a:gd name="T10" fmla="*/ 56 w 63"/>
                <a:gd name="T11" fmla="*/ 21 h 50"/>
                <a:gd name="T12" fmla="*/ 57 w 63"/>
                <a:gd name="T13" fmla="*/ 20 h 50"/>
                <a:gd name="T14" fmla="*/ 59 w 63"/>
                <a:gd name="T15" fmla="*/ 19 h 50"/>
                <a:gd name="T16" fmla="*/ 59 w 63"/>
                <a:gd name="T17" fmla="*/ 19 h 50"/>
                <a:gd name="T18" fmla="*/ 50 w 63"/>
                <a:gd name="T19" fmla="*/ 16 h 50"/>
                <a:gd name="T20" fmla="*/ 50 w 63"/>
                <a:gd name="T21" fmla="*/ 16 h 50"/>
                <a:gd name="T22" fmla="*/ 50 w 63"/>
                <a:gd name="T23" fmla="*/ 0 h 50"/>
                <a:gd name="T24" fmla="*/ 49 w 63"/>
                <a:gd name="T25" fmla="*/ 0 h 50"/>
                <a:gd name="T26" fmla="*/ 47 w 63"/>
                <a:gd name="T27" fmla="*/ 1 h 50"/>
                <a:gd name="T28" fmla="*/ 47 w 63"/>
                <a:gd name="T29" fmla="*/ 2 h 50"/>
                <a:gd name="T30" fmla="*/ 43 w 63"/>
                <a:gd name="T31" fmla="*/ 14 h 50"/>
                <a:gd name="T32" fmla="*/ 43 w 63"/>
                <a:gd name="T33" fmla="*/ 14 h 50"/>
                <a:gd name="T34" fmla="*/ 39 w 63"/>
                <a:gd name="T35" fmla="*/ 13 h 50"/>
                <a:gd name="T36" fmla="*/ 38 w 63"/>
                <a:gd name="T37" fmla="*/ 13 h 50"/>
                <a:gd name="T38" fmla="*/ 37 w 63"/>
                <a:gd name="T39" fmla="*/ 14 h 50"/>
                <a:gd name="T40" fmla="*/ 36 w 63"/>
                <a:gd name="T41" fmla="*/ 14 h 50"/>
                <a:gd name="T42" fmla="*/ 40 w 63"/>
                <a:gd name="T43" fmla="*/ 18 h 50"/>
                <a:gd name="T44" fmla="*/ 40 w 63"/>
                <a:gd name="T45" fmla="*/ 18 h 50"/>
                <a:gd name="T46" fmla="*/ 23 w 63"/>
                <a:gd name="T47" fmla="*/ 27 h 50"/>
                <a:gd name="T48" fmla="*/ 23 w 63"/>
                <a:gd name="T49" fmla="*/ 27 h 50"/>
                <a:gd name="T50" fmla="*/ 9 w 63"/>
                <a:gd name="T51" fmla="*/ 17 h 50"/>
                <a:gd name="T52" fmla="*/ 8 w 63"/>
                <a:gd name="T53" fmla="*/ 17 h 50"/>
                <a:gd name="T54" fmla="*/ 6 w 63"/>
                <a:gd name="T55" fmla="*/ 18 h 50"/>
                <a:gd name="T56" fmla="*/ 6 w 63"/>
                <a:gd name="T57" fmla="*/ 18 h 50"/>
                <a:gd name="T58" fmla="*/ 13 w 63"/>
                <a:gd name="T59" fmla="*/ 32 h 50"/>
                <a:gd name="T60" fmla="*/ 12 w 63"/>
                <a:gd name="T61" fmla="*/ 32 h 50"/>
                <a:gd name="T62" fmla="*/ 3 w 63"/>
                <a:gd name="T63" fmla="*/ 39 h 50"/>
                <a:gd name="T64" fmla="*/ 0 w 63"/>
                <a:gd name="T65" fmla="*/ 46 h 50"/>
                <a:gd name="T66" fmla="*/ 25 w 63"/>
                <a:gd name="T67" fmla="*/ 37 h 50"/>
                <a:gd name="T68" fmla="*/ 25 w 63"/>
                <a:gd name="T69" fmla="*/ 36 h 50"/>
                <a:gd name="T70" fmla="*/ 60 w 63"/>
                <a:gd name="T71" fmla="*/ 36 h 50"/>
                <a:gd name="T72" fmla="*/ 61 w 63"/>
                <a:gd name="T73" fmla="*/ 36 h 50"/>
                <a:gd name="T74" fmla="*/ 63 w 63"/>
                <a:gd name="T75" fmla="*/ 35 h 50"/>
                <a:gd name="T76" fmla="*/ 63 w 63"/>
                <a:gd name="T77"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50">
                  <a:moveTo>
                    <a:pt x="63" y="34"/>
                  </a:moveTo>
                  <a:cubicBezTo>
                    <a:pt x="34" y="31"/>
                    <a:pt x="34" y="31"/>
                    <a:pt x="34" y="31"/>
                  </a:cubicBezTo>
                  <a:cubicBezTo>
                    <a:pt x="34" y="31"/>
                    <a:pt x="33" y="31"/>
                    <a:pt x="34" y="31"/>
                  </a:cubicBezTo>
                  <a:cubicBezTo>
                    <a:pt x="34" y="30"/>
                    <a:pt x="47" y="20"/>
                    <a:pt x="47" y="20"/>
                  </a:cubicBezTo>
                  <a:cubicBezTo>
                    <a:pt x="47" y="20"/>
                    <a:pt x="47" y="20"/>
                    <a:pt x="47" y="20"/>
                  </a:cubicBezTo>
                  <a:cubicBezTo>
                    <a:pt x="48" y="20"/>
                    <a:pt x="54" y="21"/>
                    <a:pt x="56" y="21"/>
                  </a:cubicBezTo>
                  <a:cubicBezTo>
                    <a:pt x="56" y="21"/>
                    <a:pt x="57" y="20"/>
                    <a:pt x="57" y="20"/>
                  </a:cubicBezTo>
                  <a:cubicBezTo>
                    <a:pt x="57" y="20"/>
                    <a:pt x="58" y="20"/>
                    <a:pt x="59" y="19"/>
                  </a:cubicBezTo>
                  <a:cubicBezTo>
                    <a:pt x="59" y="19"/>
                    <a:pt x="59" y="19"/>
                    <a:pt x="59" y="19"/>
                  </a:cubicBezTo>
                  <a:cubicBezTo>
                    <a:pt x="59" y="19"/>
                    <a:pt x="51" y="17"/>
                    <a:pt x="50" y="16"/>
                  </a:cubicBezTo>
                  <a:cubicBezTo>
                    <a:pt x="50" y="16"/>
                    <a:pt x="50" y="16"/>
                    <a:pt x="50" y="16"/>
                  </a:cubicBezTo>
                  <a:cubicBezTo>
                    <a:pt x="50" y="14"/>
                    <a:pt x="50" y="1"/>
                    <a:pt x="50" y="0"/>
                  </a:cubicBezTo>
                  <a:cubicBezTo>
                    <a:pt x="50" y="0"/>
                    <a:pt x="49" y="0"/>
                    <a:pt x="49" y="0"/>
                  </a:cubicBezTo>
                  <a:cubicBezTo>
                    <a:pt x="49" y="0"/>
                    <a:pt x="48" y="1"/>
                    <a:pt x="47" y="1"/>
                  </a:cubicBezTo>
                  <a:cubicBezTo>
                    <a:pt x="47" y="1"/>
                    <a:pt x="47" y="2"/>
                    <a:pt x="47" y="2"/>
                  </a:cubicBezTo>
                  <a:cubicBezTo>
                    <a:pt x="46" y="3"/>
                    <a:pt x="43" y="13"/>
                    <a:pt x="43" y="14"/>
                  </a:cubicBezTo>
                  <a:cubicBezTo>
                    <a:pt x="43" y="14"/>
                    <a:pt x="43" y="14"/>
                    <a:pt x="43" y="14"/>
                  </a:cubicBezTo>
                  <a:cubicBezTo>
                    <a:pt x="42" y="14"/>
                    <a:pt x="40" y="13"/>
                    <a:pt x="39" y="13"/>
                  </a:cubicBezTo>
                  <a:cubicBezTo>
                    <a:pt x="39" y="13"/>
                    <a:pt x="39" y="13"/>
                    <a:pt x="38" y="13"/>
                  </a:cubicBezTo>
                  <a:cubicBezTo>
                    <a:pt x="38" y="13"/>
                    <a:pt x="37" y="13"/>
                    <a:pt x="37" y="14"/>
                  </a:cubicBezTo>
                  <a:cubicBezTo>
                    <a:pt x="36" y="14"/>
                    <a:pt x="36" y="14"/>
                    <a:pt x="36" y="14"/>
                  </a:cubicBezTo>
                  <a:cubicBezTo>
                    <a:pt x="37" y="14"/>
                    <a:pt x="40" y="18"/>
                    <a:pt x="40" y="18"/>
                  </a:cubicBezTo>
                  <a:cubicBezTo>
                    <a:pt x="40" y="18"/>
                    <a:pt x="40" y="18"/>
                    <a:pt x="40" y="18"/>
                  </a:cubicBezTo>
                  <a:cubicBezTo>
                    <a:pt x="23" y="27"/>
                    <a:pt x="23" y="27"/>
                    <a:pt x="23" y="27"/>
                  </a:cubicBezTo>
                  <a:cubicBezTo>
                    <a:pt x="23" y="27"/>
                    <a:pt x="23" y="27"/>
                    <a:pt x="23" y="27"/>
                  </a:cubicBezTo>
                  <a:cubicBezTo>
                    <a:pt x="22" y="26"/>
                    <a:pt x="10" y="18"/>
                    <a:pt x="9" y="17"/>
                  </a:cubicBezTo>
                  <a:cubicBezTo>
                    <a:pt x="9" y="17"/>
                    <a:pt x="9" y="17"/>
                    <a:pt x="8" y="17"/>
                  </a:cubicBezTo>
                  <a:cubicBezTo>
                    <a:pt x="8" y="17"/>
                    <a:pt x="7" y="17"/>
                    <a:pt x="6" y="18"/>
                  </a:cubicBezTo>
                  <a:cubicBezTo>
                    <a:pt x="6" y="18"/>
                    <a:pt x="6" y="18"/>
                    <a:pt x="6" y="18"/>
                  </a:cubicBezTo>
                  <a:cubicBezTo>
                    <a:pt x="6" y="18"/>
                    <a:pt x="13" y="32"/>
                    <a:pt x="13" y="32"/>
                  </a:cubicBezTo>
                  <a:cubicBezTo>
                    <a:pt x="13" y="32"/>
                    <a:pt x="13" y="32"/>
                    <a:pt x="12" y="32"/>
                  </a:cubicBezTo>
                  <a:cubicBezTo>
                    <a:pt x="11" y="33"/>
                    <a:pt x="3" y="36"/>
                    <a:pt x="3" y="39"/>
                  </a:cubicBezTo>
                  <a:cubicBezTo>
                    <a:pt x="2" y="40"/>
                    <a:pt x="0" y="44"/>
                    <a:pt x="0" y="46"/>
                  </a:cubicBezTo>
                  <a:cubicBezTo>
                    <a:pt x="1" y="50"/>
                    <a:pt x="22" y="38"/>
                    <a:pt x="25" y="37"/>
                  </a:cubicBezTo>
                  <a:cubicBezTo>
                    <a:pt x="25" y="36"/>
                    <a:pt x="25" y="36"/>
                    <a:pt x="25" y="36"/>
                  </a:cubicBezTo>
                  <a:cubicBezTo>
                    <a:pt x="29" y="36"/>
                    <a:pt x="58" y="36"/>
                    <a:pt x="60" y="36"/>
                  </a:cubicBezTo>
                  <a:cubicBezTo>
                    <a:pt x="61" y="36"/>
                    <a:pt x="61" y="36"/>
                    <a:pt x="61" y="36"/>
                  </a:cubicBezTo>
                  <a:cubicBezTo>
                    <a:pt x="61" y="36"/>
                    <a:pt x="62" y="35"/>
                    <a:pt x="63" y="35"/>
                  </a:cubicBezTo>
                  <a:cubicBezTo>
                    <a:pt x="63" y="34"/>
                    <a:pt x="63" y="34"/>
                    <a:pt x="63" y="3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p:cNvSpPr>
            <p:nvPr userDrawn="1"/>
          </p:nvSpPr>
          <p:spPr bwMode="auto">
            <a:xfrm>
              <a:off x="94" y="199"/>
              <a:ext cx="145" cy="160"/>
            </a:xfrm>
            <a:custGeom>
              <a:avLst/>
              <a:gdLst>
                <a:gd name="T0" fmla="*/ 89 w 91"/>
                <a:gd name="T1" fmla="*/ 89 h 100"/>
                <a:gd name="T2" fmla="*/ 15 w 91"/>
                <a:gd name="T3" fmla="*/ 38 h 100"/>
                <a:gd name="T4" fmla="*/ 29 w 91"/>
                <a:gd name="T5" fmla="*/ 12 h 100"/>
                <a:gd name="T6" fmla="*/ 30 w 91"/>
                <a:gd name="T7" fmla="*/ 11 h 100"/>
                <a:gd name="T8" fmla="*/ 30 w 91"/>
                <a:gd name="T9" fmla="*/ 1 h 100"/>
                <a:gd name="T10" fmla="*/ 28 w 91"/>
                <a:gd name="T11" fmla="*/ 0 h 100"/>
                <a:gd name="T12" fmla="*/ 14 w 91"/>
                <a:gd name="T13" fmla="*/ 10 h 100"/>
                <a:gd name="T14" fmla="*/ 0 w 91"/>
                <a:gd name="T15" fmla="*/ 39 h 100"/>
                <a:gd name="T16" fmla="*/ 71 w 91"/>
                <a:gd name="T17" fmla="*/ 100 h 100"/>
                <a:gd name="T18" fmla="*/ 75 w 91"/>
                <a:gd name="T19" fmla="*/ 100 h 100"/>
                <a:gd name="T20" fmla="*/ 90 w 91"/>
                <a:gd name="T21" fmla="*/ 91 h 100"/>
                <a:gd name="T22" fmla="*/ 89 w 91"/>
                <a:gd name="T23"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00">
                  <a:moveTo>
                    <a:pt x="89" y="89"/>
                  </a:moveTo>
                  <a:cubicBezTo>
                    <a:pt x="48" y="85"/>
                    <a:pt x="15" y="64"/>
                    <a:pt x="15" y="38"/>
                  </a:cubicBezTo>
                  <a:cubicBezTo>
                    <a:pt x="15" y="28"/>
                    <a:pt x="20" y="20"/>
                    <a:pt x="29" y="12"/>
                  </a:cubicBezTo>
                  <a:cubicBezTo>
                    <a:pt x="29" y="12"/>
                    <a:pt x="30" y="11"/>
                    <a:pt x="30" y="11"/>
                  </a:cubicBezTo>
                  <a:cubicBezTo>
                    <a:pt x="30" y="1"/>
                    <a:pt x="30" y="1"/>
                    <a:pt x="30" y="1"/>
                  </a:cubicBezTo>
                  <a:cubicBezTo>
                    <a:pt x="30" y="0"/>
                    <a:pt x="29" y="0"/>
                    <a:pt x="28" y="0"/>
                  </a:cubicBezTo>
                  <a:cubicBezTo>
                    <a:pt x="22" y="4"/>
                    <a:pt x="17" y="8"/>
                    <a:pt x="14" y="10"/>
                  </a:cubicBezTo>
                  <a:cubicBezTo>
                    <a:pt x="3" y="21"/>
                    <a:pt x="0" y="28"/>
                    <a:pt x="0" y="39"/>
                  </a:cubicBezTo>
                  <a:cubicBezTo>
                    <a:pt x="0" y="67"/>
                    <a:pt x="30" y="93"/>
                    <a:pt x="71" y="100"/>
                  </a:cubicBezTo>
                  <a:cubicBezTo>
                    <a:pt x="73" y="100"/>
                    <a:pt x="74" y="100"/>
                    <a:pt x="75" y="100"/>
                  </a:cubicBezTo>
                  <a:cubicBezTo>
                    <a:pt x="77" y="99"/>
                    <a:pt x="90" y="91"/>
                    <a:pt x="90" y="91"/>
                  </a:cubicBezTo>
                  <a:cubicBezTo>
                    <a:pt x="91" y="90"/>
                    <a:pt x="91" y="89"/>
                    <a:pt x="89"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9"/>
            <p:cNvSpPr>
              <a:spLocks/>
            </p:cNvSpPr>
            <p:nvPr userDrawn="1"/>
          </p:nvSpPr>
          <p:spPr bwMode="auto">
            <a:xfrm>
              <a:off x="217" y="126"/>
              <a:ext cx="50" cy="29"/>
            </a:xfrm>
            <a:custGeom>
              <a:avLst/>
              <a:gdLst>
                <a:gd name="T0" fmla="*/ 31 w 31"/>
                <a:gd name="T1" fmla="*/ 1 h 18"/>
                <a:gd name="T2" fmla="*/ 30 w 31"/>
                <a:gd name="T3" fmla="*/ 0 h 18"/>
                <a:gd name="T4" fmla="*/ 1 w 31"/>
                <a:gd name="T5" fmla="*/ 17 h 18"/>
                <a:gd name="T6" fmla="*/ 1 w 31"/>
                <a:gd name="T7" fmla="*/ 18 h 18"/>
                <a:gd name="T8" fmla="*/ 14 w 31"/>
                <a:gd name="T9" fmla="*/ 18 h 18"/>
                <a:gd name="T10" fmla="*/ 16 w 31"/>
                <a:gd name="T11" fmla="*/ 18 h 18"/>
                <a:gd name="T12" fmla="*/ 30 w 31"/>
                <a:gd name="T13" fmla="*/ 9 h 18"/>
                <a:gd name="T14" fmla="*/ 31 w 31"/>
                <a:gd name="T15" fmla="*/ 7 h 18"/>
                <a:gd name="T16" fmla="*/ 31 w 31"/>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8">
                  <a:moveTo>
                    <a:pt x="31" y="1"/>
                  </a:moveTo>
                  <a:cubicBezTo>
                    <a:pt x="31" y="1"/>
                    <a:pt x="31" y="0"/>
                    <a:pt x="30" y="0"/>
                  </a:cubicBezTo>
                  <a:cubicBezTo>
                    <a:pt x="28" y="2"/>
                    <a:pt x="16" y="9"/>
                    <a:pt x="1" y="17"/>
                  </a:cubicBezTo>
                  <a:cubicBezTo>
                    <a:pt x="0" y="17"/>
                    <a:pt x="0" y="18"/>
                    <a:pt x="1" y="18"/>
                  </a:cubicBezTo>
                  <a:cubicBezTo>
                    <a:pt x="14" y="18"/>
                    <a:pt x="14" y="18"/>
                    <a:pt x="14" y="18"/>
                  </a:cubicBezTo>
                  <a:cubicBezTo>
                    <a:pt x="15" y="18"/>
                    <a:pt x="15" y="18"/>
                    <a:pt x="16" y="18"/>
                  </a:cubicBezTo>
                  <a:cubicBezTo>
                    <a:pt x="23" y="13"/>
                    <a:pt x="28" y="10"/>
                    <a:pt x="30" y="9"/>
                  </a:cubicBezTo>
                  <a:cubicBezTo>
                    <a:pt x="31" y="8"/>
                    <a:pt x="31" y="7"/>
                    <a:pt x="31" y="7"/>
                  </a:cubicBezTo>
                  <a:cubicBezTo>
                    <a:pt x="31" y="7"/>
                    <a:pt x="31" y="1"/>
                    <a:pt x="31"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0"/>
            <p:cNvSpPr>
              <a:spLocks/>
            </p:cNvSpPr>
            <p:nvPr userDrawn="1"/>
          </p:nvSpPr>
          <p:spPr bwMode="auto">
            <a:xfrm>
              <a:off x="172" y="140"/>
              <a:ext cx="39" cy="51"/>
            </a:xfrm>
            <a:custGeom>
              <a:avLst/>
              <a:gdLst>
                <a:gd name="T0" fmla="*/ 15 w 24"/>
                <a:gd name="T1" fmla="*/ 1 h 32"/>
                <a:gd name="T2" fmla="*/ 12 w 24"/>
                <a:gd name="T3" fmla="*/ 0 h 32"/>
                <a:gd name="T4" fmla="*/ 9 w 24"/>
                <a:gd name="T5" fmla="*/ 1 h 32"/>
                <a:gd name="T6" fmla="*/ 1 w 24"/>
                <a:gd name="T7" fmla="*/ 14 h 32"/>
                <a:gd name="T8" fmla="*/ 1 w 24"/>
                <a:gd name="T9" fmla="*/ 18 h 32"/>
                <a:gd name="T10" fmla="*/ 9 w 24"/>
                <a:gd name="T11" fmla="*/ 30 h 32"/>
                <a:gd name="T12" fmla="*/ 12 w 24"/>
                <a:gd name="T13" fmla="*/ 32 h 32"/>
                <a:gd name="T14" fmla="*/ 15 w 24"/>
                <a:gd name="T15" fmla="*/ 30 h 32"/>
                <a:gd name="T16" fmla="*/ 23 w 24"/>
                <a:gd name="T17" fmla="*/ 18 h 32"/>
                <a:gd name="T18" fmla="*/ 23 w 24"/>
                <a:gd name="T19" fmla="*/ 14 h 32"/>
                <a:gd name="T20" fmla="*/ 15 w 24"/>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5" y="1"/>
                  </a:moveTo>
                  <a:cubicBezTo>
                    <a:pt x="14" y="0"/>
                    <a:pt x="13" y="0"/>
                    <a:pt x="12" y="0"/>
                  </a:cubicBezTo>
                  <a:cubicBezTo>
                    <a:pt x="11" y="0"/>
                    <a:pt x="9" y="0"/>
                    <a:pt x="9" y="1"/>
                  </a:cubicBezTo>
                  <a:cubicBezTo>
                    <a:pt x="1" y="14"/>
                    <a:pt x="1" y="14"/>
                    <a:pt x="1" y="14"/>
                  </a:cubicBezTo>
                  <a:cubicBezTo>
                    <a:pt x="0" y="15"/>
                    <a:pt x="0" y="17"/>
                    <a:pt x="1" y="18"/>
                  </a:cubicBezTo>
                  <a:cubicBezTo>
                    <a:pt x="9" y="30"/>
                    <a:pt x="9" y="30"/>
                    <a:pt x="9" y="30"/>
                  </a:cubicBezTo>
                  <a:cubicBezTo>
                    <a:pt x="9" y="31"/>
                    <a:pt x="11" y="32"/>
                    <a:pt x="12" y="32"/>
                  </a:cubicBezTo>
                  <a:cubicBezTo>
                    <a:pt x="13" y="32"/>
                    <a:pt x="14" y="31"/>
                    <a:pt x="15" y="30"/>
                  </a:cubicBezTo>
                  <a:cubicBezTo>
                    <a:pt x="23" y="18"/>
                    <a:pt x="23" y="18"/>
                    <a:pt x="23" y="18"/>
                  </a:cubicBezTo>
                  <a:cubicBezTo>
                    <a:pt x="24" y="17"/>
                    <a:pt x="24" y="15"/>
                    <a:pt x="23" y="14"/>
                  </a:cubicBezTo>
                  <a:lnTo>
                    <a:pt x="1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1"/>
            <p:cNvSpPr>
              <a:spLocks/>
            </p:cNvSpPr>
            <p:nvPr userDrawn="1"/>
          </p:nvSpPr>
          <p:spPr bwMode="auto">
            <a:xfrm>
              <a:off x="211" y="169"/>
              <a:ext cx="33" cy="22"/>
            </a:xfrm>
            <a:custGeom>
              <a:avLst/>
              <a:gdLst>
                <a:gd name="T0" fmla="*/ 20 w 21"/>
                <a:gd name="T1" fmla="*/ 0 h 14"/>
                <a:gd name="T2" fmla="*/ 11 w 21"/>
                <a:gd name="T3" fmla="*/ 0 h 14"/>
                <a:gd name="T4" fmla="*/ 9 w 21"/>
                <a:gd name="T5" fmla="*/ 1 h 14"/>
                <a:gd name="T6" fmla="*/ 1 w 21"/>
                <a:gd name="T7" fmla="*/ 12 h 14"/>
                <a:gd name="T8" fmla="*/ 1 w 21"/>
                <a:gd name="T9" fmla="*/ 13 h 14"/>
                <a:gd name="T10" fmla="*/ 2 w 21"/>
                <a:gd name="T11" fmla="*/ 14 h 14"/>
                <a:gd name="T12" fmla="*/ 9 w 21"/>
                <a:gd name="T13" fmla="*/ 14 h 14"/>
                <a:gd name="T14" fmla="*/ 10 w 21"/>
                <a:gd name="T15" fmla="*/ 13 h 14"/>
                <a:gd name="T16" fmla="*/ 21 w 21"/>
                <a:gd name="T17" fmla="*/ 2 h 14"/>
                <a:gd name="T18" fmla="*/ 21 w 21"/>
                <a:gd name="T19" fmla="*/ 1 h 14"/>
                <a:gd name="T20" fmla="*/ 20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0"/>
                  </a:moveTo>
                  <a:cubicBezTo>
                    <a:pt x="11" y="0"/>
                    <a:pt x="11" y="0"/>
                    <a:pt x="11" y="0"/>
                  </a:cubicBezTo>
                  <a:cubicBezTo>
                    <a:pt x="10" y="0"/>
                    <a:pt x="10" y="0"/>
                    <a:pt x="9" y="1"/>
                  </a:cubicBezTo>
                  <a:cubicBezTo>
                    <a:pt x="1" y="12"/>
                    <a:pt x="1" y="12"/>
                    <a:pt x="1" y="12"/>
                  </a:cubicBezTo>
                  <a:cubicBezTo>
                    <a:pt x="0" y="12"/>
                    <a:pt x="0" y="13"/>
                    <a:pt x="1" y="13"/>
                  </a:cubicBezTo>
                  <a:cubicBezTo>
                    <a:pt x="1" y="14"/>
                    <a:pt x="1" y="14"/>
                    <a:pt x="2" y="14"/>
                  </a:cubicBezTo>
                  <a:cubicBezTo>
                    <a:pt x="9" y="14"/>
                    <a:pt x="9" y="14"/>
                    <a:pt x="9" y="14"/>
                  </a:cubicBezTo>
                  <a:cubicBezTo>
                    <a:pt x="9" y="14"/>
                    <a:pt x="10" y="14"/>
                    <a:pt x="10" y="13"/>
                  </a:cubicBezTo>
                  <a:cubicBezTo>
                    <a:pt x="21" y="2"/>
                    <a:pt x="21" y="2"/>
                    <a:pt x="21" y="2"/>
                  </a:cubicBezTo>
                  <a:cubicBezTo>
                    <a:pt x="21" y="1"/>
                    <a:pt x="21" y="1"/>
                    <a:pt x="21" y="1"/>
                  </a:cubicBezTo>
                  <a:cubicBezTo>
                    <a:pt x="21" y="0"/>
                    <a:pt x="20" y="0"/>
                    <a:pt x="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12"/>
            <p:cNvSpPr>
              <a:spLocks/>
            </p:cNvSpPr>
            <p:nvPr userDrawn="1"/>
          </p:nvSpPr>
          <p:spPr bwMode="auto">
            <a:xfrm>
              <a:off x="137" y="169"/>
              <a:ext cx="34" cy="22"/>
            </a:xfrm>
            <a:custGeom>
              <a:avLst/>
              <a:gdLst>
                <a:gd name="T0" fmla="*/ 12 w 21"/>
                <a:gd name="T1" fmla="*/ 1 h 14"/>
                <a:gd name="T2" fmla="*/ 11 w 21"/>
                <a:gd name="T3" fmla="*/ 0 h 14"/>
                <a:gd name="T4" fmla="*/ 2 w 21"/>
                <a:gd name="T5" fmla="*/ 0 h 14"/>
                <a:gd name="T6" fmla="*/ 0 w 21"/>
                <a:gd name="T7" fmla="*/ 1 h 14"/>
                <a:gd name="T8" fmla="*/ 1 w 21"/>
                <a:gd name="T9" fmla="*/ 2 h 14"/>
                <a:gd name="T10" fmla="*/ 12 w 21"/>
                <a:gd name="T11" fmla="*/ 13 h 14"/>
                <a:gd name="T12" fmla="*/ 13 w 21"/>
                <a:gd name="T13" fmla="*/ 14 h 14"/>
                <a:gd name="T14" fmla="*/ 19 w 21"/>
                <a:gd name="T15" fmla="*/ 14 h 14"/>
                <a:gd name="T16" fmla="*/ 21 w 21"/>
                <a:gd name="T17" fmla="*/ 13 h 14"/>
                <a:gd name="T18" fmla="*/ 21 w 21"/>
                <a:gd name="T19" fmla="*/ 12 h 14"/>
                <a:gd name="T20" fmla="*/ 12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2" y="1"/>
                  </a:moveTo>
                  <a:cubicBezTo>
                    <a:pt x="12" y="0"/>
                    <a:pt x="11" y="0"/>
                    <a:pt x="11" y="0"/>
                  </a:cubicBezTo>
                  <a:cubicBezTo>
                    <a:pt x="2" y="0"/>
                    <a:pt x="2" y="0"/>
                    <a:pt x="2" y="0"/>
                  </a:cubicBezTo>
                  <a:cubicBezTo>
                    <a:pt x="1" y="0"/>
                    <a:pt x="1" y="0"/>
                    <a:pt x="0" y="1"/>
                  </a:cubicBezTo>
                  <a:cubicBezTo>
                    <a:pt x="0" y="1"/>
                    <a:pt x="0" y="1"/>
                    <a:pt x="1" y="2"/>
                  </a:cubicBezTo>
                  <a:cubicBezTo>
                    <a:pt x="12" y="13"/>
                    <a:pt x="12" y="13"/>
                    <a:pt x="12" y="13"/>
                  </a:cubicBezTo>
                  <a:cubicBezTo>
                    <a:pt x="12" y="14"/>
                    <a:pt x="12" y="14"/>
                    <a:pt x="13" y="14"/>
                  </a:cubicBezTo>
                  <a:cubicBezTo>
                    <a:pt x="19" y="14"/>
                    <a:pt x="19" y="14"/>
                    <a:pt x="19" y="14"/>
                  </a:cubicBezTo>
                  <a:cubicBezTo>
                    <a:pt x="20" y="14"/>
                    <a:pt x="21" y="14"/>
                    <a:pt x="21" y="13"/>
                  </a:cubicBezTo>
                  <a:cubicBezTo>
                    <a:pt x="21" y="13"/>
                    <a:pt x="21" y="12"/>
                    <a:pt x="21" y="12"/>
                  </a:cubicBezTo>
                  <a:lnTo>
                    <a:pt x="1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3"/>
            <p:cNvSpPr>
              <a:spLocks/>
            </p:cNvSpPr>
            <p:nvPr userDrawn="1"/>
          </p:nvSpPr>
          <p:spPr bwMode="auto">
            <a:xfrm>
              <a:off x="215" y="172"/>
              <a:ext cx="173" cy="235"/>
            </a:xfrm>
            <a:custGeom>
              <a:avLst/>
              <a:gdLst>
                <a:gd name="T0" fmla="*/ 93 w 108"/>
                <a:gd name="T1" fmla="*/ 63 h 147"/>
                <a:gd name="T2" fmla="*/ 66 w 108"/>
                <a:gd name="T3" fmla="*/ 98 h 147"/>
                <a:gd name="T4" fmla="*/ 1 w 108"/>
                <a:gd name="T5" fmla="*/ 138 h 147"/>
                <a:gd name="T6" fmla="*/ 0 w 108"/>
                <a:gd name="T7" fmla="*/ 139 h 147"/>
                <a:gd name="T8" fmla="*/ 0 w 108"/>
                <a:gd name="T9" fmla="*/ 146 h 147"/>
                <a:gd name="T10" fmla="*/ 1 w 108"/>
                <a:gd name="T11" fmla="*/ 147 h 147"/>
                <a:gd name="T12" fmla="*/ 94 w 108"/>
                <a:gd name="T13" fmla="*/ 90 h 147"/>
                <a:gd name="T14" fmla="*/ 108 w 108"/>
                <a:gd name="T15" fmla="*/ 62 h 147"/>
                <a:gd name="T16" fmla="*/ 37 w 108"/>
                <a:gd name="T17" fmla="*/ 1 h 147"/>
                <a:gd name="T18" fmla="*/ 33 w 108"/>
                <a:gd name="T19" fmla="*/ 1 h 147"/>
                <a:gd name="T20" fmla="*/ 18 w 108"/>
                <a:gd name="T21" fmla="*/ 10 h 147"/>
                <a:gd name="T22" fmla="*/ 19 w 108"/>
                <a:gd name="T23" fmla="*/ 12 h 147"/>
                <a:gd name="T24" fmla="*/ 93 w 108"/>
                <a:gd name="T25" fmla="*/ 6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7">
                  <a:moveTo>
                    <a:pt x="93" y="63"/>
                  </a:moveTo>
                  <a:cubicBezTo>
                    <a:pt x="93" y="77"/>
                    <a:pt x="83" y="87"/>
                    <a:pt x="66" y="98"/>
                  </a:cubicBezTo>
                  <a:cubicBezTo>
                    <a:pt x="51" y="108"/>
                    <a:pt x="7" y="134"/>
                    <a:pt x="1" y="138"/>
                  </a:cubicBezTo>
                  <a:cubicBezTo>
                    <a:pt x="0" y="139"/>
                    <a:pt x="0" y="139"/>
                    <a:pt x="0" y="139"/>
                  </a:cubicBezTo>
                  <a:cubicBezTo>
                    <a:pt x="0" y="139"/>
                    <a:pt x="0" y="145"/>
                    <a:pt x="0" y="146"/>
                  </a:cubicBezTo>
                  <a:cubicBezTo>
                    <a:pt x="0" y="146"/>
                    <a:pt x="0" y="147"/>
                    <a:pt x="1" y="147"/>
                  </a:cubicBezTo>
                  <a:cubicBezTo>
                    <a:pt x="7" y="142"/>
                    <a:pt x="78" y="104"/>
                    <a:pt x="94" y="90"/>
                  </a:cubicBezTo>
                  <a:cubicBezTo>
                    <a:pt x="105" y="80"/>
                    <a:pt x="108" y="72"/>
                    <a:pt x="108" y="62"/>
                  </a:cubicBezTo>
                  <a:cubicBezTo>
                    <a:pt x="108" y="34"/>
                    <a:pt x="78" y="8"/>
                    <a:pt x="37" y="1"/>
                  </a:cubicBezTo>
                  <a:cubicBezTo>
                    <a:pt x="35" y="0"/>
                    <a:pt x="34" y="1"/>
                    <a:pt x="33" y="1"/>
                  </a:cubicBezTo>
                  <a:cubicBezTo>
                    <a:pt x="31" y="2"/>
                    <a:pt x="18" y="10"/>
                    <a:pt x="18" y="10"/>
                  </a:cubicBezTo>
                  <a:cubicBezTo>
                    <a:pt x="17" y="11"/>
                    <a:pt x="17" y="12"/>
                    <a:pt x="19" y="12"/>
                  </a:cubicBezTo>
                  <a:cubicBezTo>
                    <a:pt x="60" y="15"/>
                    <a:pt x="93" y="37"/>
                    <a:pt x="93" y="6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14"/>
            <p:cNvSpPr>
              <a:spLocks noEditPoints="1"/>
            </p:cNvSpPr>
            <p:nvPr userDrawn="1"/>
          </p:nvSpPr>
          <p:spPr bwMode="auto">
            <a:xfrm>
              <a:off x="158" y="214"/>
              <a:ext cx="166" cy="91"/>
            </a:xfrm>
            <a:custGeom>
              <a:avLst/>
              <a:gdLst>
                <a:gd name="T0" fmla="*/ 36 w 104"/>
                <a:gd name="T1" fmla="*/ 56 h 57"/>
                <a:gd name="T2" fmla="*/ 42 w 104"/>
                <a:gd name="T3" fmla="*/ 56 h 57"/>
                <a:gd name="T4" fmla="*/ 42 w 104"/>
                <a:gd name="T5" fmla="*/ 33 h 57"/>
                <a:gd name="T6" fmla="*/ 21 w 104"/>
                <a:gd name="T7" fmla="*/ 13 h 57"/>
                <a:gd name="T8" fmla="*/ 12 w 104"/>
                <a:gd name="T9" fmla="*/ 16 h 57"/>
                <a:gd name="T10" fmla="*/ 5 w 104"/>
                <a:gd name="T11" fmla="*/ 13 h 57"/>
                <a:gd name="T12" fmla="*/ 0 w 104"/>
                <a:gd name="T13" fmla="*/ 13 h 57"/>
                <a:gd name="T14" fmla="*/ 0 w 104"/>
                <a:gd name="T15" fmla="*/ 47 h 57"/>
                <a:gd name="T16" fmla="*/ 9 w 104"/>
                <a:gd name="T17" fmla="*/ 56 h 57"/>
                <a:gd name="T18" fmla="*/ 14 w 104"/>
                <a:gd name="T19" fmla="*/ 56 h 57"/>
                <a:gd name="T20" fmla="*/ 14 w 104"/>
                <a:gd name="T21" fmla="*/ 33 h 57"/>
                <a:gd name="T22" fmla="*/ 20 w 104"/>
                <a:gd name="T23" fmla="*/ 25 h 57"/>
                <a:gd name="T24" fmla="*/ 27 w 104"/>
                <a:gd name="T25" fmla="*/ 33 h 57"/>
                <a:gd name="T26" fmla="*/ 27 w 104"/>
                <a:gd name="T27" fmla="*/ 47 h 57"/>
                <a:gd name="T28" fmla="*/ 36 w 104"/>
                <a:gd name="T29" fmla="*/ 56 h 57"/>
                <a:gd name="T30" fmla="*/ 74 w 104"/>
                <a:gd name="T31" fmla="*/ 50 h 57"/>
                <a:gd name="T32" fmla="*/ 74 w 104"/>
                <a:gd name="T33" fmla="*/ 45 h 57"/>
                <a:gd name="T34" fmla="*/ 70 w 104"/>
                <a:gd name="T35" fmla="*/ 45 h 57"/>
                <a:gd name="T36" fmla="*/ 64 w 104"/>
                <a:gd name="T37" fmla="*/ 40 h 57"/>
                <a:gd name="T38" fmla="*/ 64 w 104"/>
                <a:gd name="T39" fmla="*/ 10 h 57"/>
                <a:gd name="T40" fmla="*/ 55 w 104"/>
                <a:gd name="T41" fmla="*/ 0 h 57"/>
                <a:gd name="T42" fmla="*/ 50 w 104"/>
                <a:gd name="T43" fmla="*/ 0 h 57"/>
                <a:gd name="T44" fmla="*/ 50 w 104"/>
                <a:gd name="T45" fmla="*/ 42 h 57"/>
                <a:gd name="T46" fmla="*/ 64 w 104"/>
                <a:gd name="T47" fmla="*/ 57 h 57"/>
                <a:gd name="T48" fmla="*/ 74 w 104"/>
                <a:gd name="T49" fmla="*/ 50 h 57"/>
                <a:gd name="T50" fmla="*/ 104 w 104"/>
                <a:gd name="T51" fmla="*/ 25 h 57"/>
                <a:gd name="T52" fmla="*/ 104 w 104"/>
                <a:gd name="T53" fmla="*/ 20 h 57"/>
                <a:gd name="T54" fmla="*/ 93 w 104"/>
                <a:gd name="T55" fmla="*/ 13 h 57"/>
                <a:gd name="T56" fmla="*/ 78 w 104"/>
                <a:gd name="T57" fmla="*/ 28 h 57"/>
                <a:gd name="T58" fmla="*/ 78 w 104"/>
                <a:gd name="T59" fmla="*/ 46 h 57"/>
                <a:gd name="T60" fmla="*/ 88 w 104"/>
                <a:gd name="T61" fmla="*/ 56 h 57"/>
                <a:gd name="T62" fmla="*/ 92 w 104"/>
                <a:gd name="T63" fmla="*/ 56 h 57"/>
                <a:gd name="T64" fmla="*/ 92 w 104"/>
                <a:gd name="T65" fmla="*/ 31 h 57"/>
                <a:gd name="T66" fmla="*/ 98 w 104"/>
                <a:gd name="T67" fmla="*/ 24 h 57"/>
                <a:gd name="T68" fmla="*/ 103 w 104"/>
                <a:gd name="T69" fmla="*/ 25 h 57"/>
                <a:gd name="T70" fmla="*/ 104 w 104"/>
                <a:gd name="T71"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7">
                  <a:moveTo>
                    <a:pt x="36" y="56"/>
                  </a:moveTo>
                  <a:cubicBezTo>
                    <a:pt x="42" y="56"/>
                    <a:pt x="42" y="56"/>
                    <a:pt x="42" y="56"/>
                  </a:cubicBezTo>
                  <a:cubicBezTo>
                    <a:pt x="42" y="33"/>
                    <a:pt x="42" y="33"/>
                    <a:pt x="42" y="33"/>
                  </a:cubicBezTo>
                  <a:cubicBezTo>
                    <a:pt x="42" y="21"/>
                    <a:pt x="36" y="12"/>
                    <a:pt x="21" y="13"/>
                  </a:cubicBezTo>
                  <a:cubicBezTo>
                    <a:pt x="17" y="13"/>
                    <a:pt x="12" y="16"/>
                    <a:pt x="12" y="16"/>
                  </a:cubicBezTo>
                  <a:cubicBezTo>
                    <a:pt x="10" y="14"/>
                    <a:pt x="8" y="13"/>
                    <a:pt x="5" y="13"/>
                  </a:cubicBezTo>
                  <a:cubicBezTo>
                    <a:pt x="0" y="13"/>
                    <a:pt x="0" y="13"/>
                    <a:pt x="0" y="13"/>
                  </a:cubicBezTo>
                  <a:cubicBezTo>
                    <a:pt x="0" y="47"/>
                    <a:pt x="0" y="47"/>
                    <a:pt x="0" y="47"/>
                  </a:cubicBezTo>
                  <a:cubicBezTo>
                    <a:pt x="0" y="53"/>
                    <a:pt x="3" y="56"/>
                    <a:pt x="9" y="56"/>
                  </a:cubicBezTo>
                  <a:cubicBezTo>
                    <a:pt x="14" y="56"/>
                    <a:pt x="14" y="56"/>
                    <a:pt x="14" y="56"/>
                  </a:cubicBezTo>
                  <a:cubicBezTo>
                    <a:pt x="14" y="33"/>
                    <a:pt x="14" y="33"/>
                    <a:pt x="14" y="33"/>
                  </a:cubicBezTo>
                  <a:cubicBezTo>
                    <a:pt x="14" y="27"/>
                    <a:pt x="16" y="25"/>
                    <a:pt x="20" y="25"/>
                  </a:cubicBezTo>
                  <a:cubicBezTo>
                    <a:pt x="25" y="25"/>
                    <a:pt x="27" y="27"/>
                    <a:pt x="27" y="33"/>
                  </a:cubicBezTo>
                  <a:cubicBezTo>
                    <a:pt x="27" y="47"/>
                    <a:pt x="27" y="47"/>
                    <a:pt x="27" y="47"/>
                  </a:cubicBezTo>
                  <a:cubicBezTo>
                    <a:pt x="27" y="54"/>
                    <a:pt x="29" y="56"/>
                    <a:pt x="36" y="56"/>
                  </a:cubicBezTo>
                  <a:moveTo>
                    <a:pt x="74" y="50"/>
                  </a:moveTo>
                  <a:cubicBezTo>
                    <a:pt x="74" y="45"/>
                    <a:pt x="74" y="45"/>
                    <a:pt x="74" y="45"/>
                  </a:cubicBezTo>
                  <a:cubicBezTo>
                    <a:pt x="70" y="45"/>
                    <a:pt x="70" y="45"/>
                    <a:pt x="70" y="45"/>
                  </a:cubicBezTo>
                  <a:cubicBezTo>
                    <a:pt x="66" y="45"/>
                    <a:pt x="64" y="44"/>
                    <a:pt x="64" y="40"/>
                  </a:cubicBezTo>
                  <a:cubicBezTo>
                    <a:pt x="64" y="10"/>
                    <a:pt x="64" y="10"/>
                    <a:pt x="64" y="10"/>
                  </a:cubicBezTo>
                  <a:cubicBezTo>
                    <a:pt x="64" y="3"/>
                    <a:pt x="61" y="0"/>
                    <a:pt x="55" y="0"/>
                  </a:cubicBezTo>
                  <a:cubicBezTo>
                    <a:pt x="50" y="0"/>
                    <a:pt x="50" y="0"/>
                    <a:pt x="50" y="0"/>
                  </a:cubicBezTo>
                  <a:cubicBezTo>
                    <a:pt x="50" y="42"/>
                    <a:pt x="50" y="42"/>
                    <a:pt x="50" y="42"/>
                  </a:cubicBezTo>
                  <a:cubicBezTo>
                    <a:pt x="50" y="52"/>
                    <a:pt x="56" y="57"/>
                    <a:pt x="64" y="57"/>
                  </a:cubicBezTo>
                  <a:cubicBezTo>
                    <a:pt x="69" y="57"/>
                    <a:pt x="74" y="55"/>
                    <a:pt x="74" y="50"/>
                  </a:cubicBezTo>
                  <a:moveTo>
                    <a:pt x="104" y="25"/>
                  </a:moveTo>
                  <a:cubicBezTo>
                    <a:pt x="104" y="20"/>
                    <a:pt x="104" y="20"/>
                    <a:pt x="104" y="20"/>
                  </a:cubicBezTo>
                  <a:cubicBezTo>
                    <a:pt x="104" y="16"/>
                    <a:pt x="100" y="13"/>
                    <a:pt x="93" y="13"/>
                  </a:cubicBezTo>
                  <a:cubicBezTo>
                    <a:pt x="84" y="13"/>
                    <a:pt x="78" y="20"/>
                    <a:pt x="78" y="28"/>
                  </a:cubicBezTo>
                  <a:cubicBezTo>
                    <a:pt x="78" y="46"/>
                    <a:pt x="78" y="46"/>
                    <a:pt x="78" y="46"/>
                  </a:cubicBezTo>
                  <a:cubicBezTo>
                    <a:pt x="78" y="53"/>
                    <a:pt x="82" y="56"/>
                    <a:pt x="88" y="56"/>
                  </a:cubicBezTo>
                  <a:cubicBezTo>
                    <a:pt x="92" y="56"/>
                    <a:pt x="92" y="56"/>
                    <a:pt x="92" y="56"/>
                  </a:cubicBezTo>
                  <a:cubicBezTo>
                    <a:pt x="92" y="31"/>
                    <a:pt x="92" y="31"/>
                    <a:pt x="92" y="31"/>
                  </a:cubicBezTo>
                  <a:cubicBezTo>
                    <a:pt x="92" y="26"/>
                    <a:pt x="95" y="24"/>
                    <a:pt x="98" y="24"/>
                  </a:cubicBezTo>
                  <a:cubicBezTo>
                    <a:pt x="100" y="24"/>
                    <a:pt x="102" y="24"/>
                    <a:pt x="103" y="25"/>
                  </a:cubicBezTo>
                  <a:lnTo>
                    <a:pt x="10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5"/>
            <p:cNvSpPr>
              <a:spLocks/>
            </p:cNvSpPr>
            <p:nvPr userDrawn="1"/>
          </p:nvSpPr>
          <p:spPr bwMode="auto">
            <a:xfrm>
              <a:off x="154" y="199"/>
              <a:ext cx="73" cy="13"/>
            </a:xfrm>
            <a:custGeom>
              <a:avLst/>
              <a:gdLst>
                <a:gd name="T0" fmla="*/ 44 w 45"/>
                <a:gd name="T1" fmla="*/ 1 h 8"/>
                <a:gd name="T2" fmla="*/ 43 w 45"/>
                <a:gd name="T3" fmla="*/ 0 h 8"/>
                <a:gd name="T4" fmla="*/ 2 w 45"/>
                <a:gd name="T5" fmla="*/ 0 h 8"/>
                <a:gd name="T6" fmla="*/ 1 w 45"/>
                <a:gd name="T7" fmla="*/ 1 h 8"/>
                <a:gd name="T8" fmla="*/ 1 w 45"/>
                <a:gd name="T9" fmla="*/ 2 h 8"/>
                <a:gd name="T10" fmla="*/ 2 w 45"/>
                <a:gd name="T11" fmla="*/ 7 h 8"/>
                <a:gd name="T12" fmla="*/ 3 w 45"/>
                <a:gd name="T13" fmla="*/ 8 h 8"/>
                <a:gd name="T14" fmla="*/ 42 w 45"/>
                <a:gd name="T15" fmla="*/ 8 h 8"/>
                <a:gd name="T16" fmla="*/ 43 w 45"/>
                <a:gd name="T17" fmla="*/ 7 h 8"/>
                <a:gd name="T18" fmla="*/ 45 w 45"/>
                <a:gd name="T19" fmla="*/ 2 h 8"/>
                <a:gd name="T20" fmla="*/ 44 w 45"/>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
                  <a:moveTo>
                    <a:pt x="44" y="1"/>
                  </a:moveTo>
                  <a:cubicBezTo>
                    <a:pt x="44" y="0"/>
                    <a:pt x="44" y="0"/>
                    <a:pt x="43" y="0"/>
                  </a:cubicBezTo>
                  <a:cubicBezTo>
                    <a:pt x="2" y="0"/>
                    <a:pt x="2" y="0"/>
                    <a:pt x="2" y="0"/>
                  </a:cubicBezTo>
                  <a:cubicBezTo>
                    <a:pt x="1" y="0"/>
                    <a:pt x="1" y="0"/>
                    <a:pt x="1" y="1"/>
                  </a:cubicBezTo>
                  <a:cubicBezTo>
                    <a:pt x="1" y="1"/>
                    <a:pt x="0" y="2"/>
                    <a:pt x="1" y="2"/>
                  </a:cubicBezTo>
                  <a:cubicBezTo>
                    <a:pt x="2" y="7"/>
                    <a:pt x="2" y="7"/>
                    <a:pt x="2" y="7"/>
                  </a:cubicBezTo>
                  <a:cubicBezTo>
                    <a:pt x="2" y="7"/>
                    <a:pt x="3" y="8"/>
                    <a:pt x="3" y="8"/>
                  </a:cubicBezTo>
                  <a:cubicBezTo>
                    <a:pt x="42" y="8"/>
                    <a:pt x="42" y="8"/>
                    <a:pt x="42" y="8"/>
                  </a:cubicBezTo>
                  <a:cubicBezTo>
                    <a:pt x="42" y="8"/>
                    <a:pt x="43" y="7"/>
                    <a:pt x="43" y="7"/>
                  </a:cubicBezTo>
                  <a:cubicBezTo>
                    <a:pt x="45" y="2"/>
                    <a:pt x="45" y="2"/>
                    <a:pt x="45" y="2"/>
                  </a:cubicBezTo>
                  <a:cubicBezTo>
                    <a:pt x="45" y="2"/>
                    <a:pt x="45" y="1"/>
                    <a:pt x="4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userDrawn="1"/>
          </p:nvSpPr>
          <p:spPr bwMode="auto">
            <a:xfrm>
              <a:off x="154" y="19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17"/>
            <p:cNvSpPr>
              <a:spLocks noChangeArrowheads="1"/>
            </p:cNvSpPr>
            <p:nvPr userDrawn="1"/>
          </p:nvSpPr>
          <p:spPr bwMode="auto">
            <a:xfrm>
              <a:off x="182" y="126"/>
              <a:ext cx="17" cy="1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6880030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Pictur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bwMode="gray"/>
        <p:txBody>
          <a:bodyPr/>
          <a:lstStyle>
            <a:lvl1pPr>
              <a:defRPr>
                <a:solidFill>
                  <a:schemeClr val="bg1"/>
                </a:solidFill>
              </a:defRPr>
            </a:lvl1pPr>
          </a:lstStyle>
          <a:p>
            <a:r>
              <a:rPr lang="nl-NL" noProof="0"/>
              <a:t>Onregelmatig Werk en Gezondheid: "Lessen" uit de Luchtvaartsector</a:t>
            </a:r>
            <a:endParaRPr lang="en-GB" noProof="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015EBE98-414E-493A-9124-68D86CEA4F8A}" type="slidenum">
              <a:rPr lang="nl-NL" smtClean="0"/>
              <a:pPr/>
              <a:t>‹#›</a:t>
            </a:fld>
            <a:endParaRPr lang="nl-NL" dirty="0"/>
          </a:p>
        </p:txBody>
      </p:sp>
      <p:cxnSp>
        <p:nvCxnSpPr>
          <p:cNvPr id="12" name="Straight Connector 11"/>
          <p:cNvCxnSpPr/>
          <p:nvPr userDrawn="1"/>
        </p:nvCxnSpPr>
        <p:spPr bwMode="gray">
          <a:xfrm>
            <a:off x="8450017" y="4911786"/>
            <a:ext cx="0" cy="23171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6528" y="128267"/>
            <a:ext cx="473383" cy="61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6512923"/>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Picture 2">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2"/>
                </a:solidFill>
              </a:defRPr>
            </a:lvl1pPr>
          </a:lstStyle>
          <a:p>
            <a:r>
              <a:rPr lang="nl-NL" noProof="0"/>
              <a:t>Onregelmatig Werk en Gezondheid: "Lessen" uit de Luchtvaartsector</a:t>
            </a:r>
            <a:endParaRPr lang="en-GB" noProof="0" dirty="0"/>
          </a:p>
        </p:txBody>
      </p:sp>
      <p:sp>
        <p:nvSpPr>
          <p:cNvPr id="5" name="Slide Number Placeholder 4"/>
          <p:cNvSpPr>
            <a:spLocks noGrp="1"/>
          </p:cNvSpPr>
          <p:nvPr>
            <p:ph type="sldNum" sz="quarter" idx="12"/>
          </p:nvPr>
        </p:nvSpPr>
        <p:spPr/>
        <p:txBody>
          <a:bodyPr/>
          <a:lstStyle>
            <a:lvl1pPr>
              <a:defRPr>
                <a:solidFill>
                  <a:schemeClr val="tx2"/>
                </a:solidFill>
              </a:defRPr>
            </a:lvl1pPr>
          </a:lstStyle>
          <a:p>
            <a:fld id="{015EBE98-414E-493A-9124-68D86CEA4F8A}" type="slidenum">
              <a:rPr lang="nl-NL" smtClean="0"/>
              <a:pPr/>
              <a:t>‹#›</a:t>
            </a:fld>
            <a:endParaRPr lang="nl-NL" dirty="0"/>
          </a:p>
        </p:txBody>
      </p:sp>
      <p:cxnSp>
        <p:nvCxnSpPr>
          <p:cNvPr id="15" name="Straight Connector 14"/>
          <p:cNvCxnSpPr/>
          <p:nvPr userDrawn="1"/>
        </p:nvCxnSpPr>
        <p:spPr>
          <a:xfrm>
            <a:off x="8450017" y="4911786"/>
            <a:ext cx="0" cy="231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6528" y="128267"/>
            <a:ext cx="473383" cy="61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9760213"/>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8" name="Picture Placeholder 2"/>
          <p:cNvSpPr>
            <a:spLocks noGrp="1"/>
          </p:cNvSpPr>
          <p:nvPr>
            <p:ph type="pic" idx="14"/>
          </p:nvPr>
        </p:nvSpPr>
        <p:spPr>
          <a:xfrm>
            <a:off x="4570089" y="1029599"/>
            <a:ext cx="4100512" cy="3368994"/>
          </a:xfrm>
          <a:custGeom>
            <a:avLst/>
            <a:gdLst>
              <a:gd name="connsiteX0" fmla="*/ 362579 w 3886200"/>
              <a:gd name="connsiteY0" fmla="*/ 0 h 3730625"/>
              <a:gd name="connsiteX1" fmla="*/ 3886200 w 3886200"/>
              <a:gd name="connsiteY1" fmla="*/ 0 h 3730625"/>
              <a:gd name="connsiteX2" fmla="*/ 3886200 w 3886200"/>
              <a:gd name="connsiteY2" fmla="*/ 0 h 3730625"/>
              <a:gd name="connsiteX3" fmla="*/ 3886200 w 3886200"/>
              <a:gd name="connsiteY3" fmla="*/ 3368046 h 3730625"/>
              <a:gd name="connsiteX4" fmla="*/ 3523621 w 3886200"/>
              <a:gd name="connsiteY4" fmla="*/ 3730625 h 3730625"/>
              <a:gd name="connsiteX5" fmla="*/ 0 w 3886200"/>
              <a:gd name="connsiteY5" fmla="*/ 3730625 h 3730625"/>
              <a:gd name="connsiteX6" fmla="*/ 0 w 3886200"/>
              <a:gd name="connsiteY6" fmla="*/ 3730625 h 3730625"/>
              <a:gd name="connsiteX7" fmla="*/ 0 w 3886200"/>
              <a:gd name="connsiteY7" fmla="*/ 362579 h 3730625"/>
              <a:gd name="connsiteX8" fmla="*/ 362579 w 3886200"/>
              <a:gd name="connsiteY8" fmla="*/ 0 h 3730625"/>
              <a:gd name="connsiteX0" fmla="*/ 90418 w 3971227"/>
              <a:gd name="connsiteY0" fmla="*/ 0 h 3730625"/>
              <a:gd name="connsiteX1" fmla="*/ 3971227 w 3971227"/>
              <a:gd name="connsiteY1" fmla="*/ 0 h 3730625"/>
              <a:gd name="connsiteX2" fmla="*/ 3971227 w 3971227"/>
              <a:gd name="connsiteY2" fmla="*/ 0 h 3730625"/>
              <a:gd name="connsiteX3" fmla="*/ 3971227 w 3971227"/>
              <a:gd name="connsiteY3" fmla="*/ 3368046 h 3730625"/>
              <a:gd name="connsiteX4" fmla="*/ 3608648 w 3971227"/>
              <a:gd name="connsiteY4" fmla="*/ 3730625 h 3730625"/>
              <a:gd name="connsiteX5" fmla="*/ 85027 w 3971227"/>
              <a:gd name="connsiteY5" fmla="*/ 3730625 h 3730625"/>
              <a:gd name="connsiteX6" fmla="*/ 85027 w 3971227"/>
              <a:gd name="connsiteY6" fmla="*/ 3730625 h 3730625"/>
              <a:gd name="connsiteX7" fmla="*/ 85027 w 3971227"/>
              <a:gd name="connsiteY7" fmla="*/ 362579 h 3730625"/>
              <a:gd name="connsiteX8" fmla="*/ 90418 w 3971227"/>
              <a:gd name="connsiteY8" fmla="*/ 0 h 3730625"/>
              <a:gd name="connsiteX0" fmla="*/ 5391 w 3886200"/>
              <a:gd name="connsiteY0" fmla="*/ 0 h 3730625"/>
              <a:gd name="connsiteX1" fmla="*/ 3886200 w 3886200"/>
              <a:gd name="connsiteY1" fmla="*/ 0 h 3730625"/>
              <a:gd name="connsiteX2" fmla="*/ 3886200 w 3886200"/>
              <a:gd name="connsiteY2" fmla="*/ 0 h 3730625"/>
              <a:gd name="connsiteX3" fmla="*/ 3886200 w 3886200"/>
              <a:gd name="connsiteY3" fmla="*/ 3368046 h 3730625"/>
              <a:gd name="connsiteX4" fmla="*/ 3523621 w 3886200"/>
              <a:gd name="connsiteY4" fmla="*/ 3730625 h 3730625"/>
              <a:gd name="connsiteX5" fmla="*/ 0 w 3886200"/>
              <a:gd name="connsiteY5" fmla="*/ 3730625 h 3730625"/>
              <a:gd name="connsiteX6" fmla="*/ 0 w 3886200"/>
              <a:gd name="connsiteY6" fmla="*/ 3730625 h 3730625"/>
              <a:gd name="connsiteX7" fmla="*/ 0 w 3886200"/>
              <a:gd name="connsiteY7" fmla="*/ 362579 h 3730625"/>
              <a:gd name="connsiteX8" fmla="*/ 5391 w 3886200"/>
              <a:gd name="connsiteY8" fmla="*/ 0 h 3730625"/>
              <a:gd name="connsiteX0" fmla="*/ 867 w 3888820"/>
              <a:gd name="connsiteY0" fmla="*/ 0 h 3730625"/>
              <a:gd name="connsiteX1" fmla="*/ 3888820 w 3888820"/>
              <a:gd name="connsiteY1" fmla="*/ 0 h 3730625"/>
              <a:gd name="connsiteX2" fmla="*/ 3888820 w 3888820"/>
              <a:gd name="connsiteY2" fmla="*/ 0 h 3730625"/>
              <a:gd name="connsiteX3" fmla="*/ 3888820 w 3888820"/>
              <a:gd name="connsiteY3" fmla="*/ 3368046 h 3730625"/>
              <a:gd name="connsiteX4" fmla="*/ 3526241 w 3888820"/>
              <a:gd name="connsiteY4" fmla="*/ 3730625 h 3730625"/>
              <a:gd name="connsiteX5" fmla="*/ 2620 w 3888820"/>
              <a:gd name="connsiteY5" fmla="*/ 3730625 h 3730625"/>
              <a:gd name="connsiteX6" fmla="*/ 2620 w 3888820"/>
              <a:gd name="connsiteY6" fmla="*/ 3730625 h 3730625"/>
              <a:gd name="connsiteX7" fmla="*/ 2620 w 3888820"/>
              <a:gd name="connsiteY7" fmla="*/ 362579 h 3730625"/>
              <a:gd name="connsiteX8" fmla="*/ 867 w 3888820"/>
              <a:gd name="connsiteY8" fmla="*/ 0 h 3730625"/>
              <a:gd name="connsiteX0" fmla="*/ 0 w 3887953"/>
              <a:gd name="connsiteY0" fmla="*/ 0 h 3730625"/>
              <a:gd name="connsiteX1" fmla="*/ 3887953 w 3887953"/>
              <a:gd name="connsiteY1" fmla="*/ 0 h 3730625"/>
              <a:gd name="connsiteX2" fmla="*/ 3887953 w 3887953"/>
              <a:gd name="connsiteY2" fmla="*/ 0 h 3730625"/>
              <a:gd name="connsiteX3" fmla="*/ 3887953 w 3887953"/>
              <a:gd name="connsiteY3" fmla="*/ 3368046 h 3730625"/>
              <a:gd name="connsiteX4" fmla="*/ 3525374 w 3887953"/>
              <a:gd name="connsiteY4" fmla="*/ 3730625 h 3730625"/>
              <a:gd name="connsiteX5" fmla="*/ 1753 w 3887953"/>
              <a:gd name="connsiteY5" fmla="*/ 3730625 h 3730625"/>
              <a:gd name="connsiteX6" fmla="*/ 1753 w 3887953"/>
              <a:gd name="connsiteY6" fmla="*/ 3730625 h 3730625"/>
              <a:gd name="connsiteX7" fmla="*/ 1753 w 3887953"/>
              <a:gd name="connsiteY7" fmla="*/ 362579 h 3730625"/>
              <a:gd name="connsiteX8" fmla="*/ 0 w 3887953"/>
              <a:gd name="connsiteY8" fmla="*/ 0 h 3730625"/>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211303 w 4097503"/>
              <a:gd name="connsiteY7" fmla="*/ 364953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211303 w 4097503"/>
              <a:gd name="connsiteY7" fmla="*/ 364953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1753 w 4097503"/>
              <a:gd name="connsiteY7" fmla="*/ 374445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1753 w 4097503"/>
              <a:gd name="connsiteY7" fmla="*/ 374445 h 3732999"/>
              <a:gd name="connsiteX8" fmla="*/ 0 w 4097503"/>
              <a:gd name="connsiteY8" fmla="*/ 0 h 3732999"/>
              <a:gd name="connsiteX0" fmla="*/ 3009 w 4100512"/>
              <a:gd name="connsiteY0" fmla="*/ 0 h 3732999"/>
              <a:gd name="connsiteX1" fmla="*/ 4100512 w 4100512"/>
              <a:gd name="connsiteY1" fmla="*/ 2374 h 3732999"/>
              <a:gd name="connsiteX2" fmla="*/ 4100512 w 4100512"/>
              <a:gd name="connsiteY2" fmla="*/ 2374 h 3732999"/>
              <a:gd name="connsiteX3" fmla="*/ 4100512 w 4100512"/>
              <a:gd name="connsiteY3" fmla="*/ 3370420 h 3732999"/>
              <a:gd name="connsiteX4" fmla="*/ 3737933 w 4100512"/>
              <a:gd name="connsiteY4" fmla="*/ 3732999 h 3732999"/>
              <a:gd name="connsiteX5" fmla="*/ 214312 w 4100512"/>
              <a:gd name="connsiteY5" fmla="*/ 3732999 h 3732999"/>
              <a:gd name="connsiteX6" fmla="*/ 0 w 4100512"/>
              <a:gd name="connsiteY6" fmla="*/ 3732999 h 3732999"/>
              <a:gd name="connsiteX7" fmla="*/ 4762 w 4100512"/>
              <a:gd name="connsiteY7" fmla="*/ 374445 h 3732999"/>
              <a:gd name="connsiteX8" fmla="*/ 3009 w 4100512"/>
              <a:gd name="connsiteY8" fmla="*/ 0 h 3732999"/>
              <a:gd name="connsiteX0" fmla="*/ 628 w 4100512"/>
              <a:gd name="connsiteY0" fmla="*/ 4746 h 3730625"/>
              <a:gd name="connsiteX1" fmla="*/ 4100512 w 4100512"/>
              <a:gd name="connsiteY1" fmla="*/ 0 h 3730625"/>
              <a:gd name="connsiteX2" fmla="*/ 4100512 w 4100512"/>
              <a:gd name="connsiteY2" fmla="*/ 0 h 3730625"/>
              <a:gd name="connsiteX3" fmla="*/ 4100512 w 4100512"/>
              <a:gd name="connsiteY3" fmla="*/ 3368046 h 3730625"/>
              <a:gd name="connsiteX4" fmla="*/ 3737933 w 4100512"/>
              <a:gd name="connsiteY4" fmla="*/ 3730625 h 3730625"/>
              <a:gd name="connsiteX5" fmla="*/ 214312 w 4100512"/>
              <a:gd name="connsiteY5" fmla="*/ 3730625 h 3730625"/>
              <a:gd name="connsiteX6" fmla="*/ 0 w 4100512"/>
              <a:gd name="connsiteY6" fmla="*/ 3730625 h 3730625"/>
              <a:gd name="connsiteX7" fmla="*/ 4762 w 4100512"/>
              <a:gd name="connsiteY7" fmla="*/ 372071 h 3730625"/>
              <a:gd name="connsiteX8" fmla="*/ 628 w 4100512"/>
              <a:gd name="connsiteY8" fmla="*/ 4746 h 3730625"/>
              <a:gd name="connsiteX0" fmla="*/ 3009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3009 w 4100512"/>
              <a:gd name="connsiteY8" fmla="*/ 0 h 3730626"/>
              <a:gd name="connsiteX0" fmla="*/ 3009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3009 w 4100512"/>
              <a:gd name="connsiteY8"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628 w 4100512"/>
              <a:gd name="connsiteY8"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2381 w 4100512"/>
              <a:gd name="connsiteY7" fmla="*/ 369699 h 3730626"/>
              <a:gd name="connsiteX8" fmla="*/ 628 w 4100512"/>
              <a:gd name="connsiteY8" fmla="*/ 0 h 3730626"/>
              <a:gd name="connsiteX0" fmla="*/ 311982 w 4411866"/>
              <a:gd name="connsiteY0" fmla="*/ 0 h 3730626"/>
              <a:gd name="connsiteX1" fmla="*/ 4411866 w 4411866"/>
              <a:gd name="connsiteY1" fmla="*/ 1 h 3730626"/>
              <a:gd name="connsiteX2" fmla="*/ 4411866 w 4411866"/>
              <a:gd name="connsiteY2" fmla="*/ 1 h 3730626"/>
              <a:gd name="connsiteX3" fmla="*/ 4411866 w 4411866"/>
              <a:gd name="connsiteY3" fmla="*/ 3368047 h 3730626"/>
              <a:gd name="connsiteX4" fmla="*/ 4049287 w 4411866"/>
              <a:gd name="connsiteY4" fmla="*/ 3730626 h 3730626"/>
              <a:gd name="connsiteX5" fmla="*/ 525666 w 4411866"/>
              <a:gd name="connsiteY5" fmla="*/ 3730626 h 3730626"/>
              <a:gd name="connsiteX6" fmla="*/ 311354 w 4411866"/>
              <a:gd name="connsiteY6" fmla="*/ 3730626 h 3730626"/>
              <a:gd name="connsiteX7" fmla="*/ 311982 w 4411866"/>
              <a:gd name="connsiteY7" fmla="*/ 0 h 3730626"/>
              <a:gd name="connsiteX0" fmla="*/ 16365 w 4116249"/>
              <a:gd name="connsiteY0" fmla="*/ 0 h 3730626"/>
              <a:gd name="connsiteX1" fmla="*/ 4116249 w 4116249"/>
              <a:gd name="connsiteY1" fmla="*/ 1 h 3730626"/>
              <a:gd name="connsiteX2" fmla="*/ 4116249 w 4116249"/>
              <a:gd name="connsiteY2" fmla="*/ 1 h 3730626"/>
              <a:gd name="connsiteX3" fmla="*/ 4116249 w 4116249"/>
              <a:gd name="connsiteY3" fmla="*/ 3368047 h 3730626"/>
              <a:gd name="connsiteX4" fmla="*/ 3753670 w 4116249"/>
              <a:gd name="connsiteY4" fmla="*/ 3730626 h 3730626"/>
              <a:gd name="connsiteX5" fmla="*/ 230049 w 4116249"/>
              <a:gd name="connsiteY5" fmla="*/ 3730626 h 3730626"/>
              <a:gd name="connsiteX6" fmla="*/ 15737 w 4116249"/>
              <a:gd name="connsiteY6" fmla="*/ 3730626 h 3730626"/>
              <a:gd name="connsiteX7" fmla="*/ 16365 w 4116249"/>
              <a:gd name="connsiteY7"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628 w 4100512"/>
              <a:gd name="connsiteY7"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0 w 4100512"/>
              <a:gd name="connsiteY5" fmla="*/ 3730626 h 3730626"/>
              <a:gd name="connsiteX6" fmla="*/ 628 w 4100512"/>
              <a:gd name="connsiteY6"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687927 w 4100512"/>
              <a:gd name="connsiteY4" fmla="*/ 3728253 h 3730626"/>
              <a:gd name="connsiteX5" fmla="*/ 0 w 4100512"/>
              <a:gd name="connsiteY5" fmla="*/ 3730626 h 3730626"/>
              <a:gd name="connsiteX6" fmla="*/ 628 w 4100512"/>
              <a:gd name="connsiteY6"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49062 h 3730626"/>
              <a:gd name="connsiteX4" fmla="*/ 3687927 w 4100512"/>
              <a:gd name="connsiteY4" fmla="*/ 3728253 h 3730626"/>
              <a:gd name="connsiteX5" fmla="*/ 0 w 4100512"/>
              <a:gd name="connsiteY5" fmla="*/ 3730626 h 3730626"/>
              <a:gd name="connsiteX6" fmla="*/ 628 w 4100512"/>
              <a:gd name="connsiteY6" fmla="*/ 0 h 373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0512" h="3730626">
                <a:moveTo>
                  <a:pt x="628" y="0"/>
                </a:moveTo>
                <a:lnTo>
                  <a:pt x="4100512" y="1"/>
                </a:lnTo>
                <a:lnTo>
                  <a:pt x="4100512" y="1"/>
                </a:lnTo>
                <a:lnTo>
                  <a:pt x="4100512" y="3349062"/>
                </a:lnTo>
                <a:cubicBezTo>
                  <a:pt x="4100512" y="3549309"/>
                  <a:pt x="3888174" y="3728253"/>
                  <a:pt x="3687927" y="3728253"/>
                </a:cubicBezTo>
                <a:lnTo>
                  <a:pt x="0" y="3730626"/>
                </a:lnTo>
                <a:cubicBezTo>
                  <a:pt x="209" y="2487084"/>
                  <a:pt x="419" y="1243542"/>
                  <a:pt x="628" y="0"/>
                </a:cubicBezTo>
                <a:close/>
              </a:path>
            </a:pathLst>
          </a:custGeom>
          <a:solidFill>
            <a:schemeClr val="bg1">
              <a:lumMod val="85000"/>
            </a:schemeClr>
          </a:solidFill>
          <a:ln>
            <a:noFill/>
          </a:ln>
        </p:spPr>
        <p:txBody>
          <a:bodyPr vert="horz" lIns="91440" tIns="45720" rIns="91440" bIns="45720" rtlCol="0">
            <a:noAutofit/>
          </a:bodyPr>
          <a:lstStyle>
            <a:lvl1pPr marL="266700" indent="-266700">
              <a:buNone/>
              <a:defRPr lang="nl-NL" sz="1000" dirty="0"/>
            </a:lvl1pPr>
          </a:lstStyle>
          <a:p>
            <a:pPr marL="0" lvl="0" indent="0"/>
            <a:r>
              <a:rPr lang="en-US"/>
              <a:t>Click icon to add picture</a:t>
            </a:r>
            <a:endParaRPr lang="nl-NL" dirty="0"/>
          </a:p>
        </p:txBody>
      </p:sp>
      <p:sp>
        <p:nvSpPr>
          <p:cNvPr id="3" name="Content Placeholder 2"/>
          <p:cNvSpPr>
            <a:spLocks noGrp="1"/>
          </p:cNvSpPr>
          <p:nvPr>
            <p:ph idx="1"/>
          </p:nvPr>
        </p:nvSpPr>
        <p:spPr>
          <a:xfrm>
            <a:off x="2" y="1029600"/>
            <a:ext cx="4571999" cy="3368993"/>
          </a:xfrm>
          <a:prstGeom prst="rect">
            <a:avLst/>
          </a:prstGeom>
          <a:solidFill>
            <a:schemeClr val="tx2"/>
          </a:solidFill>
        </p:spPr>
        <p:txBody>
          <a:bodyPr lIns="666000" tIns="180000" rIns="180000" bIns="180000" anchor="ctr" anchorCtr="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7" name="Title Placeholder 1">
            <a:extLst>
              <a:ext uri="{FF2B5EF4-FFF2-40B4-BE49-F238E27FC236}">
                <a16:creationId xmlns:a16="http://schemas.microsoft.com/office/drawing/2014/main" id="{B218BDF2-654A-4B6D-A31A-9BA5758551F5}"/>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403672122"/>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nd Picture 2">
    <p:spTree>
      <p:nvGrpSpPr>
        <p:cNvPr id="1" name=""/>
        <p:cNvGrpSpPr/>
        <p:nvPr/>
      </p:nvGrpSpPr>
      <p:grpSpPr>
        <a:xfrm>
          <a:off x="0" y="0"/>
          <a:ext cx="0" cy="0"/>
          <a:chOff x="0" y="0"/>
          <a:chExt cx="0" cy="0"/>
        </a:xfrm>
      </p:grpSpPr>
      <p:sp>
        <p:nvSpPr>
          <p:cNvPr id="8" name="Picture Placeholder 2"/>
          <p:cNvSpPr>
            <a:spLocks noGrp="1"/>
          </p:cNvSpPr>
          <p:nvPr>
            <p:ph type="pic" idx="14"/>
          </p:nvPr>
        </p:nvSpPr>
        <p:spPr>
          <a:xfrm>
            <a:off x="4570089" y="1029600"/>
            <a:ext cx="4100512" cy="3368994"/>
          </a:xfrm>
          <a:custGeom>
            <a:avLst/>
            <a:gdLst>
              <a:gd name="connsiteX0" fmla="*/ 362579 w 3886200"/>
              <a:gd name="connsiteY0" fmla="*/ 0 h 3730625"/>
              <a:gd name="connsiteX1" fmla="*/ 3886200 w 3886200"/>
              <a:gd name="connsiteY1" fmla="*/ 0 h 3730625"/>
              <a:gd name="connsiteX2" fmla="*/ 3886200 w 3886200"/>
              <a:gd name="connsiteY2" fmla="*/ 0 h 3730625"/>
              <a:gd name="connsiteX3" fmla="*/ 3886200 w 3886200"/>
              <a:gd name="connsiteY3" fmla="*/ 3368046 h 3730625"/>
              <a:gd name="connsiteX4" fmla="*/ 3523621 w 3886200"/>
              <a:gd name="connsiteY4" fmla="*/ 3730625 h 3730625"/>
              <a:gd name="connsiteX5" fmla="*/ 0 w 3886200"/>
              <a:gd name="connsiteY5" fmla="*/ 3730625 h 3730625"/>
              <a:gd name="connsiteX6" fmla="*/ 0 w 3886200"/>
              <a:gd name="connsiteY6" fmla="*/ 3730625 h 3730625"/>
              <a:gd name="connsiteX7" fmla="*/ 0 w 3886200"/>
              <a:gd name="connsiteY7" fmla="*/ 362579 h 3730625"/>
              <a:gd name="connsiteX8" fmla="*/ 362579 w 3886200"/>
              <a:gd name="connsiteY8" fmla="*/ 0 h 3730625"/>
              <a:gd name="connsiteX0" fmla="*/ 90418 w 3971227"/>
              <a:gd name="connsiteY0" fmla="*/ 0 h 3730625"/>
              <a:gd name="connsiteX1" fmla="*/ 3971227 w 3971227"/>
              <a:gd name="connsiteY1" fmla="*/ 0 h 3730625"/>
              <a:gd name="connsiteX2" fmla="*/ 3971227 w 3971227"/>
              <a:gd name="connsiteY2" fmla="*/ 0 h 3730625"/>
              <a:gd name="connsiteX3" fmla="*/ 3971227 w 3971227"/>
              <a:gd name="connsiteY3" fmla="*/ 3368046 h 3730625"/>
              <a:gd name="connsiteX4" fmla="*/ 3608648 w 3971227"/>
              <a:gd name="connsiteY4" fmla="*/ 3730625 h 3730625"/>
              <a:gd name="connsiteX5" fmla="*/ 85027 w 3971227"/>
              <a:gd name="connsiteY5" fmla="*/ 3730625 h 3730625"/>
              <a:gd name="connsiteX6" fmla="*/ 85027 w 3971227"/>
              <a:gd name="connsiteY6" fmla="*/ 3730625 h 3730625"/>
              <a:gd name="connsiteX7" fmla="*/ 85027 w 3971227"/>
              <a:gd name="connsiteY7" fmla="*/ 362579 h 3730625"/>
              <a:gd name="connsiteX8" fmla="*/ 90418 w 3971227"/>
              <a:gd name="connsiteY8" fmla="*/ 0 h 3730625"/>
              <a:gd name="connsiteX0" fmla="*/ 5391 w 3886200"/>
              <a:gd name="connsiteY0" fmla="*/ 0 h 3730625"/>
              <a:gd name="connsiteX1" fmla="*/ 3886200 w 3886200"/>
              <a:gd name="connsiteY1" fmla="*/ 0 h 3730625"/>
              <a:gd name="connsiteX2" fmla="*/ 3886200 w 3886200"/>
              <a:gd name="connsiteY2" fmla="*/ 0 h 3730625"/>
              <a:gd name="connsiteX3" fmla="*/ 3886200 w 3886200"/>
              <a:gd name="connsiteY3" fmla="*/ 3368046 h 3730625"/>
              <a:gd name="connsiteX4" fmla="*/ 3523621 w 3886200"/>
              <a:gd name="connsiteY4" fmla="*/ 3730625 h 3730625"/>
              <a:gd name="connsiteX5" fmla="*/ 0 w 3886200"/>
              <a:gd name="connsiteY5" fmla="*/ 3730625 h 3730625"/>
              <a:gd name="connsiteX6" fmla="*/ 0 w 3886200"/>
              <a:gd name="connsiteY6" fmla="*/ 3730625 h 3730625"/>
              <a:gd name="connsiteX7" fmla="*/ 0 w 3886200"/>
              <a:gd name="connsiteY7" fmla="*/ 362579 h 3730625"/>
              <a:gd name="connsiteX8" fmla="*/ 5391 w 3886200"/>
              <a:gd name="connsiteY8" fmla="*/ 0 h 3730625"/>
              <a:gd name="connsiteX0" fmla="*/ 867 w 3888820"/>
              <a:gd name="connsiteY0" fmla="*/ 0 h 3730625"/>
              <a:gd name="connsiteX1" fmla="*/ 3888820 w 3888820"/>
              <a:gd name="connsiteY1" fmla="*/ 0 h 3730625"/>
              <a:gd name="connsiteX2" fmla="*/ 3888820 w 3888820"/>
              <a:gd name="connsiteY2" fmla="*/ 0 h 3730625"/>
              <a:gd name="connsiteX3" fmla="*/ 3888820 w 3888820"/>
              <a:gd name="connsiteY3" fmla="*/ 3368046 h 3730625"/>
              <a:gd name="connsiteX4" fmla="*/ 3526241 w 3888820"/>
              <a:gd name="connsiteY4" fmla="*/ 3730625 h 3730625"/>
              <a:gd name="connsiteX5" fmla="*/ 2620 w 3888820"/>
              <a:gd name="connsiteY5" fmla="*/ 3730625 h 3730625"/>
              <a:gd name="connsiteX6" fmla="*/ 2620 w 3888820"/>
              <a:gd name="connsiteY6" fmla="*/ 3730625 h 3730625"/>
              <a:gd name="connsiteX7" fmla="*/ 2620 w 3888820"/>
              <a:gd name="connsiteY7" fmla="*/ 362579 h 3730625"/>
              <a:gd name="connsiteX8" fmla="*/ 867 w 3888820"/>
              <a:gd name="connsiteY8" fmla="*/ 0 h 3730625"/>
              <a:gd name="connsiteX0" fmla="*/ 0 w 3887953"/>
              <a:gd name="connsiteY0" fmla="*/ 0 h 3730625"/>
              <a:gd name="connsiteX1" fmla="*/ 3887953 w 3887953"/>
              <a:gd name="connsiteY1" fmla="*/ 0 h 3730625"/>
              <a:gd name="connsiteX2" fmla="*/ 3887953 w 3887953"/>
              <a:gd name="connsiteY2" fmla="*/ 0 h 3730625"/>
              <a:gd name="connsiteX3" fmla="*/ 3887953 w 3887953"/>
              <a:gd name="connsiteY3" fmla="*/ 3368046 h 3730625"/>
              <a:gd name="connsiteX4" fmla="*/ 3525374 w 3887953"/>
              <a:gd name="connsiteY4" fmla="*/ 3730625 h 3730625"/>
              <a:gd name="connsiteX5" fmla="*/ 1753 w 3887953"/>
              <a:gd name="connsiteY5" fmla="*/ 3730625 h 3730625"/>
              <a:gd name="connsiteX6" fmla="*/ 1753 w 3887953"/>
              <a:gd name="connsiteY6" fmla="*/ 3730625 h 3730625"/>
              <a:gd name="connsiteX7" fmla="*/ 1753 w 3887953"/>
              <a:gd name="connsiteY7" fmla="*/ 362579 h 3730625"/>
              <a:gd name="connsiteX8" fmla="*/ 0 w 3887953"/>
              <a:gd name="connsiteY8" fmla="*/ 0 h 3730625"/>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211303 w 4097503"/>
              <a:gd name="connsiteY7" fmla="*/ 364953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211303 w 4097503"/>
              <a:gd name="connsiteY7" fmla="*/ 364953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1753 w 4097503"/>
              <a:gd name="connsiteY7" fmla="*/ 374445 h 3732999"/>
              <a:gd name="connsiteX8" fmla="*/ 0 w 4097503"/>
              <a:gd name="connsiteY8" fmla="*/ 0 h 3732999"/>
              <a:gd name="connsiteX0" fmla="*/ 0 w 4097503"/>
              <a:gd name="connsiteY0" fmla="*/ 0 h 3732999"/>
              <a:gd name="connsiteX1" fmla="*/ 4097503 w 4097503"/>
              <a:gd name="connsiteY1" fmla="*/ 2374 h 3732999"/>
              <a:gd name="connsiteX2" fmla="*/ 4097503 w 4097503"/>
              <a:gd name="connsiteY2" fmla="*/ 2374 h 3732999"/>
              <a:gd name="connsiteX3" fmla="*/ 4097503 w 4097503"/>
              <a:gd name="connsiteY3" fmla="*/ 3370420 h 3732999"/>
              <a:gd name="connsiteX4" fmla="*/ 3734924 w 4097503"/>
              <a:gd name="connsiteY4" fmla="*/ 3732999 h 3732999"/>
              <a:gd name="connsiteX5" fmla="*/ 211303 w 4097503"/>
              <a:gd name="connsiteY5" fmla="*/ 3732999 h 3732999"/>
              <a:gd name="connsiteX6" fmla="*/ 211303 w 4097503"/>
              <a:gd name="connsiteY6" fmla="*/ 3732999 h 3732999"/>
              <a:gd name="connsiteX7" fmla="*/ 1753 w 4097503"/>
              <a:gd name="connsiteY7" fmla="*/ 374445 h 3732999"/>
              <a:gd name="connsiteX8" fmla="*/ 0 w 4097503"/>
              <a:gd name="connsiteY8" fmla="*/ 0 h 3732999"/>
              <a:gd name="connsiteX0" fmla="*/ 3009 w 4100512"/>
              <a:gd name="connsiteY0" fmla="*/ 0 h 3732999"/>
              <a:gd name="connsiteX1" fmla="*/ 4100512 w 4100512"/>
              <a:gd name="connsiteY1" fmla="*/ 2374 h 3732999"/>
              <a:gd name="connsiteX2" fmla="*/ 4100512 w 4100512"/>
              <a:gd name="connsiteY2" fmla="*/ 2374 h 3732999"/>
              <a:gd name="connsiteX3" fmla="*/ 4100512 w 4100512"/>
              <a:gd name="connsiteY3" fmla="*/ 3370420 h 3732999"/>
              <a:gd name="connsiteX4" fmla="*/ 3737933 w 4100512"/>
              <a:gd name="connsiteY4" fmla="*/ 3732999 h 3732999"/>
              <a:gd name="connsiteX5" fmla="*/ 214312 w 4100512"/>
              <a:gd name="connsiteY5" fmla="*/ 3732999 h 3732999"/>
              <a:gd name="connsiteX6" fmla="*/ 0 w 4100512"/>
              <a:gd name="connsiteY6" fmla="*/ 3732999 h 3732999"/>
              <a:gd name="connsiteX7" fmla="*/ 4762 w 4100512"/>
              <a:gd name="connsiteY7" fmla="*/ 374445 h 3732999"/>
              <a:gd name="connsiteX8" fmla="*/ 3009 w 4100512"/>
              <a:gd name="connsiteY8" fmla="*/ 0 h 3732999"/>
              <a:gd name="connsiteX0" fmla="*/ 628 w 4100512"/>
              <a:gd name="connsiteY0" fmla="*/ 4746 h 3730625"/>
              <a:gd name="connsiteX1" fmla="*/ 4100512 w 4100512"/>
              <a:gd name="connsiteY1" fmla="*/ 0 h 3730625"/>
              <a:gd name="connsiteX2" fmla="*/ 4100512 w 4100512"/>
              <a:gd name="connsiteY2" fmla="*/ 0 h 3730625"/>
              <a:gd name="connsiteX3" fmla="*/ 4100512 w 4100512"/>
              <a:gd name="connsiteY3" fmla="*/ 3368046 h 3730625"/>
              <a:gd name="connsiteX4" fmla="*/ 3737933 w 4100512"/>
              <a:gd name="connsiteY4" fmla="*/ 3730625 h 3730625"/>
              <a:gd name="connsiteX5" fmla="*/ 214312 w 4100512"/>
              <a:gd name="connsiteY5" fmla="*/ 3730625 h 3730625"/>
              <a:gd name="connsiteX6" fmla="*/ 0 w 4100512"/>
              <a:gd name="connsiteY6" fmla="*/ 3730625 h 3730625"/>
              <a:gd name="connsiteX7" fmla="*/ 4762 w 4100512"/>
              <a:gd name="connsiteY7" fmla="*/ 372071 h 3730625"/>
              <a:gd name="connsiteX8" fmla="*/ 628 w 4100512"/>
              <a:gd name="connsiteY8" fmla="*/ 4746 h 3730625"/>
              <a:gd name="connsiteX0" fmla="*/ 3009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3009 w 4100512"/>
              <a:gd name="connsiteY8" fmla="*/ 0 h 3730626"/>
              <a:gd name="connsiteX0" fmla="*/ 3009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3009 w 4100512"/>
              <a:gd name="connsiteY8"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4762 w 4100512"/>
              <a:gd name="connsiteY7" fmla="*/ 372072 h 3730626"/>
              <a:gd name="connsiteX8" fmla="*/ 628 w 4100512"/>
              <a:gd name="connsiteY8"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2381 w 4100512"/>
              <a:gd name="connsiteY7" fmla="*/ 369699 h 3730626"/>
              <a:gd name="connsiteX8" fmla="*/ 628 w 4100512"/>
              <a:gd name="connsiteY8" fmla="*/ 0 h 3730626"/>
              <a:gd name="connsiteX0" fmla="*/ 311982 w 4411866"/>
              <a:gd name="connsiteY0" fmla="*/ 0 h 3730626"/>
              <a:gd name="connsiteX1" fmla="*/ 4411866 w 4411866"/>
              <a:gd name="connsiteY1" fmla="*/ 1 h 3730626"/>
              <a:gd name="connsiteX2" fmla="*/ 4411866 w 4411866"/>
              <a:gd name="connsiteY2" fmla="*/ 1 h 3730626"/>
              <a:gd name="connsiteX3" fmla="*/ 4411866 w 4411866"/>
              <a:gd name="connsiteY3" fmla="*/ 3368047 h 3730626"/>
              <a:gd name="connsiteX4" fmla="*/ 4049287 w 4411866"/>
              <a:gd name="connsiteY4" fmla="*/ 3730626 h 3730626"/>
              <a:gd name="connsiteX5" fmla="*/ 525666 w 4411866"/>
              <a:gd name="connsiteY5" fmla="*/ 3730626 h 3730626"/>
              <a:gd name="connsiteX6" fmla="*/ 311354 w 4411866"/>
              <a:gd name="connsiteY6" fmla="*/ 3730626 h 3730626"/>
              <a:gd name="connsiteX7" fmla="*/ 311982 w 4411866"/>
              <a:gd name="connsiteY7" fmla="*/ 0 h 3730626"/>
              <a:gd name="connsiteX0" fmla="*/ 16365 w 4116249"/>
              <a:gd name="connsiteY0" fmla="*/ 0 h 3730626"/>
              <a:gd name="connsiteX1" fmla="*/ 4116249 w 4116249"/>
              <a:gd name="connsiteY1" fmla="*/ 1 h 3730626"/>
              <a:gd name="connsiteX2" fmla="*/ 4116249 w 4116249"/>
              <a:gd name="connsiteY2" fmla="*/ 1 h 3730626"/>
              <a:gd name="connsiteX3" fmla="*/ 4116249 w 4116249"/>
              <a:gd name="connsiteY3" fmla="*/ 3368047 h 3730626"/>
              <a:gd name="connsiteX4" fmla="*/ 3753670 w 4116249"/>
              <a:gd name="connsiteY4" fmla="*/ 3730626 h 3730626"/>
              <a:gd name="connsiteX5" fmla="*/ 230049 w 4116249"/>
              <a:gd name="connsiteY5" fmla="*/ 3730626 h 3730626"/>
              <a:gd name="connsiteX6" fmla="*/ 15737 w 4116249"/>
              <a:gd name="connsiteY6" fmla="*/ 3730626 h 3730626"/>
              <a:gd name="connsiteX7" fmla="*/ 16365 w 4116249"/>
              <a:gd name="connsiteY7"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214312 w 4100512"/>
              <a:gd name="connsiteY5" fmla="*/ 3730626 h 3730626"/>
              <a:gd name="connsiteX6" fmla="*/ 0 w 4100512"/>
              <a:gd name="connsiteY6" fmla="*/ 3730626 h 3730626"/>
              <a:gd name="connsiteX7" fmla="*/ 628 w 4100512"/>
              <a:gd name="connsiteY7"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737933 w 4100512"/>
              <a:gd name="connsiteY4" fmla="*/ 3730626 h 3730626"/>
              <a:gd name="connsiteX5" fmla="*/ 0 w 4100512"/>
              <a:gd name="connsiteY5" fmla="*/ 3730626 h 3730626"/>
              <a:gd name="connsiteX6" fmla="*/ 628 w 4100512"/>
              <a:gd name="connsiteY6"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68047 h 3730626"/>
              <a:gd name="connsiteX4" fmla="*/ 3687927 w 4100512"/>
              <a:gd name="connsiteY4" fmla="*/ 3728253 h 3730626"/>
              <a:gd name="connsiteX5" fmla="*/ 0 w 4100512"/>
              <a:gd name="connsiteY5" fmla="*/ 3730626 h 3730626"/>
              <a:gd name="connsiteX6" fmla="*/ 628 w 4100512"/>
              <a:gd name="connsiteY6" fmla="*/ 0 h 3730626"/>
              <a:gd name="connsiteX0" fmla="*/ 628 w 4100512"/>
              <a:gd name="connsiteY0" fmla="*/ 0 h 3730626"/>
              <a:gd name="connsiteX1" fmla="*/ 4100512 w 4100512"/>
              <a:gd name="connsiteY1" fmla="*/ 1 h 3730626"/>
              <a:gd name="connsiteX2" fmla="*/ 4100512 w 4100512"/>
              <a:gd name="connsiteY2" fmla="*/ 1 h 3730626"/>
              <a:gd name="connsiteX3" fmla="*/ 4100512 w 4100512"/>
              <a:gd name="connsiteY3" fmla="*/ 3349062 h 3730626"/>
              <a:gd name="connsiteX4" fmla="*/ 3687927 w 4100512"/>
              <a:gd name="connsiteY4" fmla="*/ 3728253 h 3730626"/>
              <a:gd name="connsiteX5" fmla="*/ 0 w 4100512"/>
              <a:gd name="connsiteY5" fmla="*/ 3730626 h 3730626"/>
              <a:gd name="connsiteX6" fmla="*/ 628 w 4100512"/>
              <a:gd name="connsiteY6" fmla="*/ 0 h 373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0512" h="3730626">
                <a:moveTo>
                  <a:pt x="628" y="0"/>
                </a:moveTo>
                <a:lnTo>
                  <a:pt x="4100512" y="1"/>
                </a:lnTo>
                <a:lnTo>
                  <a:pt x="4100512" y="1"/>
                </a:lnTo>
                <a:lnTo>
                  <a:pt x="4100512" y="3349062"/>
                </a:lnTo>
                <a:cubicBezTo>
                  <a:pt x="4100512" y="3549309"/>
                  <a:pt x="3888174" y="3728253"/>
                  <a:pt x="3687927" y="3728253"/>
                </a:cubicBezTo>
                <a:lnTo>
                  <a:pt x="0" y="3730626"/>
                </a:lnTo>
                <a:cubicBezTo>
                  <a:pt x="209" y="2487084"/>
                  <a:pt x="419" y="1243542"/>
                  <a:pt x="628" y="0"/>
                </a:cubicBezTo>
                <a:close/>
              </a:path>
            </a:pathLst>
          </a:custGeom>
          <a:solidFill>
            <a:schemeClr val="bg1">
              <a:lumMod val="85000"/>
            </a:schemeClr>
          </a:solidFill>
          <a:ln>
            <a:noFill/>
          </a:ln>
        </p:spPr>
        <p:txBody>
          <a:bodyPr vert="horz" lIns="91440" tIns="45720" rIns="91440" bIns="45720" rtlCol="0">
            <a:noAutofit/>
          </a:bodyPr>
          <a:lstStyle>
            <a:lvl1pPr marL="266700" indent="-266700">
              <a:buNone/>
              <a:defRPr lang="nl-NL" sz="1000" dirty="0"/>
            </a:lvl1pPr>
          </a:lstStyle>
          <a:p>
            <a:pPr marL="0" lvl="0" indent="0"/>
            <a:r>
              <a:rPr lang="en-US"/>
              <a:t>Click icon to add picture</a:t>
            </a:r>
            <a:endParaRPr lang="nl-NL" dirty="0"/>
          </a:p>
        </p:txBody>
      </p:sp>
      <p:sp>
        <p:nvSpPr>
          <p:cNvPr id="3" name="Content Placeholder 2"/>
          <p:cNvSpPr>
            <a:spLocks noGrp="1"/>
          </p:cNvSpPr>
          <p:nvPr>
            <p:ph idx="1"/>
          </p:nvPr>
        </p:nvSpPr>
        <p:spPr>
          <a:xfrm>
            <a:off x="2" y="1029600"/>
            <a:ext cx="4571999" cy="3368993"/>
          </a:xfrm>
          <a:prstGeom prst="rect">
            <a:avLst/>
          </a:prstGeom>
          <a:solidFill>
            <a:schemeClr val="accent3"/>
          </a:solidFill>
        </p:spPr>
        <p:txBody>
          <a:bodyPr lIns="666000" tIns="180000" rIns="180000" bIns="180000" anchor="ctr" anchorCtr="0"/>
          <a:lstStyle>
            <a:lvl1pPr>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7" name="Title Placeholder 1">
            <a:extLst>
              <a:ext uri="{FF2B5EF4-FFF2-40B4-BE49-F238E27FC236}">
                <a16:creationId xmlns:a16="http://schemas.microsoft.com/office/drawing/2014/main" id="{E44C8A61-1E6B-492A-9C98-D08864AC1013}"/>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605531681"/>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Picture 3">
    <p:spTree>
      <p:nvGrpSpPr>
        <p:cNvPr id="1" name=""/>
        <p:cNvGrpSpPr/>
        <p:nvPr/>
      </p:nvGrpSpPr>
      <p:grpSpPr>
        <a:xfrm>
          <a:off x="0" y="0"/>
          <a:ext cx="0" cy="0"/>
          <a:chOff x="0" y="0"/>
          <a:chExt cx="0" cy="0"/>
        </a:xfrm>
      </p:grpSpPr>
      <p:sp>
        <p:nvSpPr>
          <p:cNvPr id="10" name="Picture Placeholder 2"/>
          <p:cNvSpPr>
            <a:spLocks noGrp="1"/>
          </p:cNvSpPr>
          <p:nvPr>
            <p:ph type="pic" idx="17"/>
          </p:nvPr>
        </p:nvSpPr>
        <p:spPr>
          <a:xfrm>
            <a:off x="681054" y="2846479"/>
            <a:ext cx="7989871" cy="1682659"/>
          </a:xfrm>
          <a:custGeom>
            <a:avLst/>
            <a:gdLst>
              <a:gd name="connsiteX0" fmla="*/ 260812 w 7989871"/>
              <a:gd name="connsiteY0" fmla="*/ 0 h 1869621"/>
              <a:gd name="connsiteX1" fmla="*/ 7989871 w 7989871"/>
              <a:gd name="connsiteY1" fmla="*/ 0 h 1869621"/>
              <a:gd name="connsiteX2" fmla="*/ 7989871 w 7989871"/>
              <a:gd name="connsiteY2" fmla="*/ 0 h 1869621"/>
              <a:gd name="connsiteX3" fmla="*/ 7989871 w 7989871"/>
              <a:gd name="connsiteY3" fmla="*/ 1608809 h 1869621"/>
              <a:gd name="connsiteX4" fmla="*/ 7729059 w 7989871"/>
              <a:gd name="connsiteY4" fmla="*/ 1869621 h 1869621"/>
              <a:gd name="connsiteX5" fmla="*/ 0 w 7989871"/>
              <a:gd name="connsiteY5" fmla="*/ 1869621 h 1869621"/>
              <a:gd name="connsiteX6" fmla="*/ 0 w 7989871"/>
              <a:gd name="connsiteY6" fmla="*/ 1869621 h 1869621"/>
              <a:gd name="connsiteX7" fmla="*/ 0 w 7989871"/>
              <a:gd name="connsiteY7" fmla="*/ 260812 h 1869621"/>
              <a:gd name="connsiteX8" fmla="*/ 260812 w 7989871"/>
              <a:gd name="connsiteY8" fmla="*/ 0 h 1869621"/>
              <a:gd name="connsiteX0" fmla="*/ 64975 w 8051209"/>
              <a:gd name="connsiteY0" fmla="*/ 0 h 1869621"/>
              <a:gd name="connsiteX1" fmla="*/ 8051209 w 8051209"/>
              <a:gd name="connsiteY1" fmla="*/ 0 h 1869621"/>
              <a:gd name="connsiteX2" fmla="*/ 8051209 w 8051209"/>
              <a:gd name="connsiteY2" fmla="*/ 0 h 1869621"/>
              <a:gd name="connsiteX3" fmla="*/ 8051209 w 8051209"/>
              <a:gd name="connsiteY3" fmla="*/ 1608809 h 1869621"/>
              <a:gd name="connsiteX4" fmla="*/ 7790397 w 8051209"/>
              <a:gd name="connsiteY4" fmla="*/ 1869621 h 1869621"/>
              <a:gd name="connsiteX5" fmla="*/ 61338 w 8051209"/>
              <a:gd name="connsiteY5" fmla="*/ 1869621 h 1869621"/>
              <a:gd name="connsiteX6" fmla="*/ 61338 w 8051209"/>
              <a:gd name="connsiteY6" fmla="*/ 1869621 h 1869621"/>
              <a:gd name="connsiteX7" fmla="*/ 61338 w 8051209"/>
              <a:gd name="connsiteY7" fmla="*/ 260812 h 1869621"/>
              <a:gd name="connsiteX8" fmla="*/ 64975 w 8051209"/>
              <a:gd name="connsiteY8" fmla="*/ 0 h 1869621"/>
              <a:gd name="connsiteX0" fmla="*/ 3637 w 7989871"/>
              <a:gd name="connsiteY0" fmla="*/ 0 h 1869621"/>
              <a:gd name="connsiteX1" fmla="*/ 7989871 w 7989871"/>
              <a:gd name="connsiteY1" fmla="*/ 0 h 1869621"/>
              <a:gd name="connsiteX2" fmla="*/ 7989871 w 7989871"/>
              <a:gd name="connsiteY2" fmla="*/ 0 h 1869621"/>
              <a:gd name="connsiteX3" fmla="*/ 7989871 w 7989871"/>
              <a:gd name="connsiteY3" fmla="*/ 1608809 h 1869621"/>
              <a:gd name="connsiteX4" fmla="*/ 7729059 w 7989871"/>
              <a:gd name="connsiteY4" fmla="*/ 1869621 h 1869621"/>
              <a:gd name="connsiteX5" fmla="*/ 0 w 7989871"/>
              <a:gd name="connsiteY5" fmla="*/ 1869621 h 1869621"/>
              <a:gd name="connsiteX6" fmla="*/ 0 w 7989871"/>
              <a:gd name="connsiteY6" fmla="*/ 1869621 h 1869621"/>
              <a:gd name="connsiteX7" fmla="*/ 0 w 7989871"/>
              <a:gd name="connsiteY7" fmla="*/ 260812 h 1869621"/>
              <a:gd name="connsiteX8" fmla="*/ 3637 w 7989871"/>
              <a:gd name="connsiteY8" fmla="*/ 0 h 1869621"/>
              <a:gd name="connsiteX0" fmla="*/ 1338 w 7989953"/>
              <a:gd name="connsiteY0" fmla="*/ 0 h 1869621"/>
              <a:gd name="connsiteX1" fmla="*/ 7989953 w 7989953"/>
              <a:gd name="connsiteY1" fmla="*/ 0 h 1869621"/>
              <a:gd name="connsiteX2" fmla="*/ 7989953 w 7989953"/>
              <a:gd name="connsiteY2" fmla="*/ 0 h 1869621"/>
              <a:gd name="connsiteX3" fmla="*/ 7989953 w 7989953"/>
              <a:gd name="connsiteY3" fmla="*/ 1608809 h 1869621"/>
              <a:gd name="connsiteX4" fmla="*/ 7729141 w 7989953"/>
              <a:gd name="connsiteY4" fmla="*/ 1869621 h 1869621"/>
              <a:gd name="connsiteX5" fmla="*/ 82 w 7989953"/>
              <a:gd name="connsiteY5" fmla="*/ 1869621 h 1869621"/>
              <a:gd name="connsiteX6" fmla="*/ 82 w 7989953"/>
              <a:gd name="connsiteY6" fmla="*/ 1869621 h 1869621"/>
              <a:gd name="connsiteX7" fmla="*/ 82 w 7989953"/>
              <a:gd name="connsiteY7" fmla="*/ 260812 h 1869621"/>
              <a:gd name="connsiteX8" fmla="*/ 1338 w 7989953"/>
              <a:gd name="connsiteY8" fmla="*/ 0 h 1869621"/>
              <a:gd name="connsiteX0" fmla="*/ 1256 w 7989871"/>
              <a:gd name="connsiteY0" fmla="*/ 0 h 1869621"/>
              <a:gd name="connsiteX1" fmla="*/ 7989871 w 7989871"/>
              <a:gd name="connsiteY1" fmla="*/ 0 h 1869621"/>
              <a:gd name="connsiteX2" fmla="*/ 7989871 w 7989871"/>
              <a:gd name="connsiteY2" fmla="*/ 0 h 1869621"/>
              <a:gd name="connsiteX3" fmla="*/ 7989871 w 7989871"/>
              <a:gd name="connsiteY3" fmla="*/ 1608809 h 1869621"/>
              <a:gd name="connsiteX4" fmla="*/ 7729059 w 7989871"/>
              <a:gd name="connsiteY4" fmla="*/ 1869621 h 1869621"/>
              <a:gd name="connsiteX5" fmla="*/ 0 w 7989871"/>
              <a:gd name="connsiteY5" fmla="*/ 1869621 h 1869621"/>
              <a:gd name="connsiteX6" fmla="*/ 0 w 7989871"/>
              <a:gd name="connsiteY6" fmla="*/ 1869621 h 1869621"/>
              <a:gd name="connsiteX7" fmla="*/ 1256 w 7989871"/>
              <a:gd name="connsiteY7" fmla="*/ 0 h 18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9871" h="1869621">
                <a:moveTo>
                  <a:pt x="1256" y="0"/>
                </a:moveTo>
                <a:lnTo>
                  <a:pt x="7989871" y="0"/>
                </a:lnTo>
                <a:lnTo>
                  <a:pt x="7989871" y="0"/>
                </a:lnTo>
                <a:lnTo>
                  <a:pt x="7989871" y="1608809"/>
                </a:lnTo>
                <a:cubicBezTo>
                  <a:pt x="7989871" y="1752851"/>
                  <a:pt x="7873101" y="1869621"/>
                  <a:pt x="7729059" y="1869621"/>
                </a:cubicBezTo>
                <a:lnTo>
                  <a:pt x="0" y="1869621"/>
                </a:lnTo>
                <a:lnTo>
                  <a:pt x="0" y="1869621"/>
                </a:lnTo>
                <a:cubicBezTo>
                  <a:pt x="419" y="1246414"/>
                  <a:pt x="837" y="623207"/>
                  <a:pt x="1256" y="0"/>
                </a:cubicBezTo>
                <a:close/>
              </a:path>
            </a:pathLst>
          </a:custGeom>
          <a:solidFill>
            <a:schemeClr val="bg1">
              <a:lumMod val="85000"/>
            </a:schemeClr>
          </a:solidFill>
          <a:ln>
            <a:noFill/>
          </a:ln>
        </p:spPr>
        <p:txBody>
          <a:bodyPr vert="horz" lIns="91440" tIns="45720" rIns="91440" bIns="45720" rtlCol="0">
            <a:noAutofit/>
          </a:bodyPr>
          <a:lstStyle>
            <a:lvl1pPr marL="266700" indent="-266700">
              <a:buNone/>
              <a:defRPr lang="nl-NL" sz="1000" dirty="0"/>
            </a:lvl1pPr>
          </a:lstStyle>
          <a:p>
            <a:pPr marL="0" lvl="0" indent="0"/>
            <a:r>
              <a:rPr lang="en-US"/>
              <a:t>Click icon to add picture</a:t>
            </a:r>
            <a:endParaRPr lang="nl-NL" dirty="0"/>
          </a:p>
        </p:txBody>
      </p:sp>
      <p:sp>
        <p:nvSpPr>
          <p:cNvPr id="2" name="Title 1"/>
          <p:cNvSpPr>
            <a:spLocks noGrp="1"/>
          </p:cNvSpPr>
          <p:nvPr>
            <p:ph type="title"/>
          </p:nvPr>
        </p:nvSpPr>
        <p:spPr>
          <a:xfrm>
            <a:off x="576787" y="594779"/>
            <a:ext cx="8094138" cy="461665"/>
          </a:xfrm>
          <a:prstGeom prst="rect">
            <a:avLst/>
          </a:prstGeom>
        </p:spPr>
        <p:txBody>
          <a:bodyPr/>
          <a:lstStyle/>
          <a:p>
            <a:r>
              <a:rPr lang="en-US" noProof="0"/>
              <a:t>Click to edit Master title style</a:t>
            </a:r>
            <a:endParaRPr lang="en-GB" noProof="0" dirty="0"/>
          </a:p>
        </p:txBody>
      </p:sp>
      <p:sp>
        <p:nvSpPr>
          <p:cNvPr id="3" name="Content Placeholder 2"/>
          <p:cNvSpPr>
            <a:spLocks noGrp="1"/>
          </p:cNvSpPr>
          <p:nvPr>
            <p:ph idx="1"/>
          </p:nvPr>
        </p:nvSpPr>
        <p:spPr>
          <a:xfrm>
            <a:off x="681039" y="1160146"/>
            <a:ext cx="7989887" cy="1697354"/>
          </a:xfrm>
          <a:prstGeom prst="rect">
            <a:avLst/>
          </a:prstGeom>
          <a:solidFill>
            <a:schemeClr val="accent3"/>
          </a:solidFill>
        </p:spPr>
        <p:txBody>
          <a:bodyPr lIns="252000" tIns="180000" rIns="252000" bIns="180000" anchor="t" anchorCtr="0"/>
          <a:lstStyle>
            <a:lvl1pPr>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Tree>
    <p:extLst>
      <p:ext uri="{BB962C8B-B14F-4D97-AF65-F5344CB8AC3E}">
        <p14:creationId xmlns:p14="http://schemas.microsoft.com/office/powerpoint/2010/main" val="2247810181"/>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Picture Frame">
    <p:spTree>
      <p:nvGrpSpPr>
        <p:cNvPr id="1" name=""/>
        <p:cNvGrpSpPr/>
        <p:nvPr/>
      </p:nvGrpSpPr>
      <p:grpSpPr>
        <a:xfrm>
          <a:off x="0" y="0"/>
          <a:ext cx="0" cy="0"/>
          <a:chOff x="0" y="0"/>
          <a:chExt cx="0" cy="0"/>
        </a:xfrm>
      </p:grpSpPr>
      <p:sp>
        <p:nvSpPr>
          <p:cNvPr id="11" name="Rectangle 10"/>
          <p:cNvSpPr/>
          <p:nvPr userDrawn="1"/>
        </p:nvSpPr>
        <p:spPr bwMode="gray">
          <a:xfrm>
            <a:off x="1" y="1017247"/>
            <a:ext cx="4572000" cy="3368993"/>
          </a:xfrm>
          <a:prstGeom prst="rect">
            <a:avLst/>
          </a:prstGeom>
          <a:solidFill>
            <a:schemeClr val="accent3"/>
          </a:solidFill>
          <a:ln w="9525">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000" dirty="0">
              <a:solidFill>
                <a:schemeClr val="accent4"/>
              </a:solidFill>
            </a:endParaRPr>
          </a:p>
        </p:txBody>
      </p:sp>
      <p:sp>
        <p:nvSpPr>
          <p:cNvPr id="3" name="Content Placeholder 2"/>
          <p:cNvSpPr>
            <a:spLocks noGrp="1"/>
          </p:cNvSpPr>
          <p:nvPr>
            <p:ph idx="1"/>
          </p:nvPr>
        </p:nvSpPr>
        <p:spPr>
          <a:xfrm>
            <a:off x="2" y="1029601"/>
            <a:ext cx="4571999" cy="3356640"/>
          </a:xfrm>
          <a:prstGeom prst="rect">
            <a:avLst/>
          </a:prstGeom>
          <a:noFill/>
        </p:spPr>
        <p:txBody>
          <a:bodyPr lIns="666000" tIns="180000" rIns="180000" bIns="180000" anchor="ctr" anchorCtr="0"/>
          <a:lstStyle>
            <a:lvl1pPr>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7" name="Rectangle 6"/>
          <p:cNvSpPr/>
          <p:nvPr userDrawn="1"/>
        </p:nvSpPr>
        <p:spPr bwMode="gray">
          <a:xfrm>
            <a:off x="4572001" y="1029600"/>
            <a:ext cx="4098925" cy="3356640"/>
          </a:xfrm>
          <a:custGeom>
            <a:avLst/>
            <a:gdLst/>
            <a:ahLst/>
            <a:cxnLst/>
            <a:rect l="l" t="t" r="r" b="b"/>
            <a:pathLst>
              <a:path w="4098925" h="3718260">
                <a:moveTo>
                  <a:pt x="0" y="0"/>
                </a:moveTo>
                <a:lnTo>
                  <a:pt x="4098925" y="0"/>
                </a:lnTo>
                <a:lnTo>
                  <a:pt x="4098925" y="3298268"/>
                </a:lnTo>
                <a:cubicBezTo>
                  <a:pt x="4098925" y="3530223"/>
                  <a:pt x="3910888" y="3718260"/>
                  <a:pt x="3678933" y="3718260"/>
                </a:cubicBezTo>
                <a:lnTo>
                  <a:pt x="0" y="3718260"/>
                </a:lnTo>
                <a:lnTo>
                  <a:pt x="0" y="1809404"/>
                </a:lnTo>
                <a:lnTo>
                  <a:pt x="0" y="393339"/>
                </a:lnTo>
                <a:close/>
              </a:path>
            </a:pathLst>
          </a:custGeom>
          <a:noFill/>
          <a:ln w="1905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sp>
        <p:nvSpPr>
          <p:cNvPr id="12" name="Content Placeholder 3"/>
          <p:cNvSpPr>
            <a:spLocks noGrp="1"/>
          </p:cNvSpPr>
          <p:nvPr>
            <p:ph sz="half" idx="2" hasCustomPrompt="1"/>
          </p:nvPr>
        </p:nvSpPr>
        <p:spPr>
          <a:xfrm>
            <a:off x="4784726" y="1191449"/>
            <a:ext cx="3673474" cy="3020587"/>
          </a:xfrm>
          <a:prstGeom prst="rect">
            <a:avLst/>
          </a:prstGeom>
        </p:spPr>
        <p:txBody>
          <a:bodyPr/>
          <a:lstStyle>
            <a:lvl1pPr marL="0" indent="0">
              <a:buFontTx/>
              <a:buNone/>
              <a:defRPr sz="1000"/>
            </a:lvl1pPr>
            <a:lvl2pPr marL="266700" indent="0">
              <a:buFontTx/>
              <a:buNone/>
              <a:defRPr sz="1800"/>
            </a:lvl2pPr>
            <a:lvl3pPr marL="539750" indent="0">
              <a:buFontTx/>
              <a:buNone/>
              <a:defRPr sz="1800"/>
            </a:lvl3pPr>
            <a:lvl4pPr marL="806450" indent="0">
              <a:buFontTx/>
              <a:buNone/>
              <a:defRPr sz="1800"/>
            </a:lvl4pPr>
            <a:lvl5pPr marL="1073150" indent="0">
              <a:buFontTx/>
              <a:buNone/>
              <a:defRPr sz="1800"/>
            </a:lvl5pPr>
            <a:lvl6pPr>
              <a:defRPr sz="1800"/>
            </a:lvl6pPr>
            <a:lvl7pPr>
              <a:defRPr sz="1800"/>
            </a:lvl7pPr>
            <a:lvl8pPr>
              <a:defRPr sz="1800"/>
            </a:lvl8pPr>
            <a:lvl9pPr>
              <a:defRPr sz="1800"/>
            </a:lvl9pPr>
          </a:lstStyle>
          <a:p>
            <a:pPr lvl="0"/>
            <a:r>
              <a:rPr lang="en-GB" noProof="0" dirty="0"/>
              <a:t>Picture</a:t>
            </a:r>
          </a:p>
        </p:txBody>
      </p:sp>
      <p:sp>
        <p:nvSpPr>
          <p:cNvPr id="9" name="Title Placeholder 1">
            <a:extLst>
              <a:ext uri="{FF2B5EF4-FFF2-40B4-BE49-F238E27FC236}">
                <a16:creationId xmlns:a16="http://schemas.microsoft.com/office/drawing/2014/main" id="{DF8597EB-5E0E-4569-A02A-2A822AABA6CB}"/>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84734761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 End Slide &quot;Presentation version&quot;">
    <p:bg bwMode="gray">
      <p:bgPr>
        <a:gradFill flip="none" rotWithShape="1">
          <a:gsLst>
            <a:gs pos="0">
              <a:schemeClr val="accent1">
                <a:lumMod val="60000"/>
                <a:lumOff val="40000"/>
              </a:schemeClr>
            </a:gs>
            <a:gs pos="36000">
              <a:schemeClr val="accent1"/>
            </a:gs>
            <a:gs pos="100000">
              <a:schemeClr val="tx2"/>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22" name="Graphic 3">
            <a:extLst>
              <a:ext uri="{FF2B5EF4-FFF2-40B4-BE49-F238E27FC236}">
                <a16:creationId xmlns:a16="http://schemas.microsoft.com/office/drawing/2014/main" id="{908F54D4-FF78-43BD-B80E-7D23C1BE2E6E}"/>
              </a:ext>
            </a:extLst>
          </p:cNvPr>
          <p:cNvGrpSpPr>
            <a:grpSpLocks noChangeAspect="1"/>
          </p:cNvGrpSpPr>
          <p:nvPr/>
        </p:nvGrpSpPr>
        <p:grpSpPr>
          <a:xfrm>
            <a:off x="3698899" y="1878973"/>
            <a:ext cx="783122" cy="1029024"/>
            <a:chOff x="2736110" y="828575"/>
            <a:chExt cx="1537413" cy="2020163"/>
          </a:xfrm>
          <a:solidFill>
            <a:schemeClr val="bg1"/>
          </a:solidFill>
        </p:grpSpPr>
        <p:sp>
          <p:nvSpPr>
            <p:cNvPr id="59" name="Freeform: Shape 58">
              <a:extLst>
                <a:ext uri="{FF2B5EF4-FFF2-40B4-BE49-F238E27FC236}">
                  <a16:creationId xmlns:a16="http://schemas.microsoft.com/office/drawing/2014/main" id="{25DAC8C2-254E-4198-AB76-721BE41B6D02}"/>
                </a:ext>
              </a:extLst>
            </p:cNvPr>
            <p:cNvSpPr/>
            <p:nvPr/>
          </p:nvSpPr>
          <p:spPr>
            <a:xfrm>
              <a:off x="3676715" y="828575"/>
              <a:ext cx="416685" cy="322774"/>
            </a:xfrm>
            <a:custGeom>
              <a:avLst/>
              <a:gdLst>
                <a:gd name="connsiteX0" fmla="*/ 30470 w 416685"/>
                <a:gd name="connsiteY0" fmla="*/ 159013 h 322774"/>
                <a:gd name="connsiteX1" fmla="*/ 88124 w 416685"/>
                <a:gd name="connsiteY1" fmla="*/ 208461 h 322774"/>
                <a:gd name="connsiteX2" fmla="*/ 94121 w 416685"/>
                <a:gd name="connsiteY2" fmla="*/ 286210 h 322774"/>
                <a:gd name="connsiteX3" fmla="*/ 117477 w 416685"/>
                <a:gd name="connsiteY3" fmla="*/ 321350 h 322774"/>
                <a:gd name="connsiteX4" fmla="*/ 123790 w 416685"/>
                <a:gd name="connsiteY4" fmla="*/ 321140 h 322774"/>
                <a:gd name="connsiteX5" fmla="*/ 185337 w 416685"/>
                <a:gd name="connsiteY5" fmla="*/ 202149 h 322774"/>
                <a:gd name="connsiteX6" fmla="*/ 384181 w 416685"/>
                <a:gd name="connsiteY6" fmla="*/ 59907 h 322774"/>
                <a:gd name="connsiteX7" fmla="*/ 415744 w 416685"/>
                <a:gd name="connsiteY7" fmla="*/ 4567 h 322774"/>
                <a:gd name="connsiteX8" fmla="*/ 349883 w 416685"/>
                <a:gd name="connsiteY8" fmla="*/ 13510 h 322774"/>
                <a:gd name="connsiteX9" fmla="*/ 134100 w 416685"/>
                <a:gd name="connsiteY9" fmla="*/ 125136 h 322774"/>
                <a:gd name="connsiteX10" fmla="*/ 3221 w 416685"/>
                <a:gd name="connsiteY10" fmla="*/ 135236 h 322774"/>
                <a:gd name="connsiteX11" fmla="*/ 1958 w 416685"/>
                <a:gd name="connsiteY11" fmla="*/ 142706 h 322774"/>
                <a:gd name="connsiteX12" fmla="*/ 20791 w 416685"/>
                <a:gd name="connsiteY12" fmla="*/ 173216 h 322774"/>
                <a:gd name="connsiteX13" fmla="*/ 30575 w 416685"/>
                <a:gd name="connsiteY13" fmla="*/ 159013 h 3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685" h="322774">
                  <a:moveTo>
                    <a:pt x="30470" y="159013"/>
                  </a:moveTo>
                  <a:cubicBezTo>
                    <a:pt x="46462" y="149229"/>
                    <a:pt x="72238" y="171323"/>
                    <a:pt x="88124" y="208461"/>
                  </a:cubicBezTo>
                  <a:cubicBezTo>
                    <a:pt x="101486" y="239393"/>
                    <a:pt x="103380" y="271271"/>
                    <a:pt x="94121" y="286210"/>
                  </a:cubicBezTo>
                  <a:cubicBezTo>
                    <a:pt x="94121" y="286210"/>
                    <a:pt x="116636" y="320614"/>
                    <a:pt x="117477" y="321350"/>
                  </a:cubicBezTo>
                  <a:cubicBezTo>
                    <a:pt x="118214" y="322192"/>
                    <a:pt x="121896" y="324191"/>
                    <a:pt x="123790" y="321140"/>
                  </a:cubicBezTo>
                  <a:cubicBezTo>
                    <a:pt x="125578" y="317983"/>
                    <a:pt x="185337" y="202149"/>
                    <a:pt x="185337" y="202149"/>
                  </a:cubicBezTo>
                  <a:cubicBezTo>
                    <a:pt x="185337" y="202149"/>
                    <a:pt x="370714" y="72847"/>
                    <a:pt x="384181" y="59907"/>
                  </a:cubicBezTo>
                  <a:cubicBezTo>
                    <a:pt x="397648" y="46966"/>
                    <a:pt x="421741" y="16456"/>
                    <a:pt x="415744" y="4567"/>
                  </a:cubicBezTo>
                  <a:cubicBezTo>
                    <a:pt x="408590" y="-9531"/>
                    <a:pt x="349883" y="13510"/>
                    <a:pt x="349883" y="13510"/>
                  </a:cubicBezTo>
                  <a:lnTo>
                    <a:pt x="134100" y="125136"/>
                  </a:lnTo>
                  <a:cubicBezTo>
                    <a:pt x="134100" y="125136"/>
                    <a:pt x="9428" y="134500"/>
                    <a:pt x="3221" y="135236"/>
                  </a:cubicBezTo>
                  <a:cubicBezTo>
                    <a:pt x="-3197" y="135973"/>
                    <a:pt x="1958" y="142706"/>
                    <a:pt x="1958" y="142706"/>
                  </a:cubicBezTo>
                  <a:lnTo>
                    <a:pt x="20791" y="173216"/>
                  </a:lnTo>
                  <a:cubicBezTo>
                    <a:pt x="22790" y="166694"/>
                    <a:pt x="26051" y="161644"/>
                    <a:pt x="30575" y="159013"/>
                  </a:cubicBezTo>
                </a:path>
              </a:pathLst>
            </a:custGeom>
            <a:grpFill/>
            <a:ln w="10508" cap="flat">
              <a:noFill/>
              <a:prstDash val="solid"/>
              <a:miter/>
            </a:ln>
          </p:spPr>
          <p:txBody>
            <a:bodyPr rtlCol="0" anchor="ctr"/>
            <a:lstStyle/>
            <a:p>
              <a:endParaRPr lang="nl-NL"/>
            </a:p>
          </p:txBody>
        </p:sp>
        <p:sp>
          <p:nvSpPr>
            <p:cNvPr id="60" name="Freeform: Shape 59">
              <a:extLst>
                <a:ext uri="{FF2B5EF4-FFF2-40B4-BE49-F238E27FC236}">
                  <a16:creationId xmlns:a16="http://schemas.microsoft.com/office/drawing/2014/main" id="{DF61DC0C-4A08-489E-B037-A777C59C9B5A}"/>
                </a:ext>
              </a:extLst>
            </p:cNvPr>
            <p:cNvSpPr/>
            <p:nvPr/>
          </p:nvSpPr>
          <p:spPr>
            <a:xfrm>
              <a:off x="3680355" y="1027254"/>
              <a:ext cx="53750" cy="90721"/>
            </a:xfrm>
            <a:custGeom>
              <a:avLst/>
              <a:gdLst>
                <a:gd name="connsiteX0" fmla="*/ 46715 w 53750"/>
                <a:gd name="connsiteY0" fmla="*/ 33243 h 90721"/>
                <a:gd name="connsiteX1" fmla="*/ 8735 w 53750"/>
                <a:gd name="connsiteY1" fmla="*/ 1681 h 90721"/>
                <a:gd name="connsiteX2" fmla="*/ 6946 w 53750"/>
                <a:gd name="connsiteY2" fmla="*/ 57441 h 90721"/>
                <a:gd name="connsiteX3" fmla="*/ 45032 w 53750"/>
                <a:gd name="connsiteY3" fmla="*/ 89004 h 90721"/>
                <a:gd name="connsiteX4" fmla="*/ 46715 w 53750"/>
                <a:gd name="connsiteY4" fmla="*/ 33243 h 90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50" h="90721">
                  <a:moveTo>
                    <a:pt x="46715" y="33243"/>
                  </a:moveTo>
                  <a:cubicBezTo>
                    <a:pt x="36615" y="9045"/>
                    <a:pt x="19571" y="-5053"/>
                    <a:pt x="8735" y="1681"/>
                  </a:cubicBezTo>
                  <a:cubicBezTo>
                    <a:pt x="-2207" y="8309"/>
                    <a:pt x="-2943" y="33348"/>
                    <a:pt x="6946" y="57441"/>
                  </a:cubicBezTo>
                  <a:cubicBezTo>
                    <a:pt x="17046" y="81639"/>
                    <a:pt x="34090" y="95842"/>
                    <a:pt x="45032" y="89004"/>
                  </a:cubicBezTo>
                  <a:cubicBezTo>
                    <a:pt x="55973" y="82376"/>
                    <a:pt x="56710" y="57231"/>
                    <a:pt x="46715" y="33243"/>
                  </a:cubicBezTo>
                </a:path>
              </a:pathLst>
            </a:custGeom>
            <a:grpFill/>
            <a:ln w="10508"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B524CE81-279F-40D8-9056-74D1881DF28C}"/>
                </a:ext>
              </a:extLst>
            </p:cNvPr>
            <p:cNvSpPr/>
            <p:nvPr/>
          </p:nvSpPr>
          <p:spPr>
            <a:xfrm>
              <a:off x="2887062" y="2460997"/>
              <a:ext cx="526052" cy="387740"/>
            </a:xfrm>
            <a:custGeom>
              <a:avLst/>
              <a:gdLst>
                <a:gd name="connsiteX0" fmla="*/ 522593 w 526052"/>
                <a:gd name="connsiteY0" fmla="*/ 285362 h 387740"/>
                <a:gd name="connsiteX1" fmla="*/ 280929 w 526052"/>
                <a:gd name="connsiteY1" fmla="*/ 256430 h 387740"/>
                <a:gd name="connsiteX2" fmla="*/ 280403 w 526052"/>
                <a:gd name="connsiteY2" fmla="*/ 254326 h 387740"/>
                <a:gd name="connsiteX3" fmla="*/ 392135 w 526052"/>
                <a:gd name="connsiteY3" fmla="*/ 169738 h 387740"/>
                <a:gd name="connsiteX4" fmla="*/ 393187 w 526052"/>
                <a:gd name="connsiteY4" fmla="*/ 169422 h 387740"/>
                <a:gd name="connsiteX5" fmla="*/ 467254 w 526052"/>
                <a:gd name="connsiteY5" fmla="*/ 170369 h 387740"/>
                <a:gd name="connsiteX6" fmla="*/ 473882 w 526052"/>
                <a:gd name="connsiteY6" fmla="*/ 169107 h 387740"/>
                <a:gd name="connsiteX7" fmla="*/ 489453 w 526052"/>
                <a:gd name="connsiteY7" fmla="*/ 161532 h 387740"/>
                <a:gd name="connsiteX8" fmla="*/ 489558 w 526052"/>
                <a:gd name="connsiteY8" fmla="*/ 159322 h 387740"/>
                <a:gd name="connsiteX9" fmla="*/ 417490 w 526052"/>
                <a:gd name="connsiteY9" fmla="*/ 135019 h 387740"/>
                <a:gd name="connsiteX10" fmla="*/ 415807 w 526052"/>
                <a:gd name="connsiteY10" fmla="*/ 132494 h 387740"/>
                <a:gd name="connsiteX11" fmla="*/ 415807 w 526052"/>
                <a:gd name="connsiteY11" fmla="*/ 1825 h 387740"/>
                <a:gd name="connsiteX12" fmla="*/ 411598 w 526052"/>
                <a:gd name="connsiteY12" fmla="*/ 668 h 387740"/>
                <a:gd name="connsiteX13" fmla="*/ 393923 w 526052"/>
                <a:gd name="connsiteY13" fmla="*/ 9716 h 387740"/>
                <a:gd name="connsiteX14" fmla="*/ 391504 w 526052"/>
                <a:gd name="connsiteY14" fmla="*/ 12451 h 387740"/>
                <a:gd name="connsiteX15" fmla="*/ 358573 w 526052"/>
                <a:gd name="connsiteY15" fmla="*/ 115661 h 387740"/>
                <a:gd name="connsiteX16" fmla="*/ 358047 w 526052"/>
                <a:gd name="connsiteY16" fmla="*/ 115976 h 387740"/>
                <a:gd name="connsiteX17" fmla="*/ 324801 w 526052"/>
                <a:gd name="connsiteY17" fmla="*/ 105456 h 387740"/>
                <a:gd name="connsiteX18" fmla="*/ 320909 w 526052"/>
                <a:gd name="connsiteY18" fmla="*/ 105561 h 387740"/>
                <a:gd name="connsiteX19" fmla="*/ 304917 w 526052"/>
                <a:gd name="connsiteY19" fmla="*/ 113136 h 387740"/>
                <a:gd name="connsiteX20" fmla="*/ 304286 w 526052"/>
                <a:gd name="connsiteY20" fmla="*/ 115556 h 387740"/>
                <a:gd name="connsiteX21" fmla="*/ 336479 w 526052"/>
                <a:gd name="connsiteY21" fmla="*/ 150800 h 387740"/>
                <a:gd name="connsiteX22" fmla="*/ 336164 w 526052"/>
                <a:gd name="connsiteY22" fmla="*/ 152063 h 387740"/>
                <a:gd name="connsiteX23" fmla="*/ 192344 w 526052"/>
                <a:gd name="connsiteY23" fmla="*/ 226445 h 387740"/>
                <a:gd name="connsiteX24" fmla="*/ 190555 w 526052"/>
                <a:gd name="connsiteY24" fmla="*/ 226445 h 387740"/>
                <a:gd name="connsiteX25" fmla="*/ 72406 w 526052"/>
                <a:gd name="connsiteY25" fmla="*/ 139648 h 387740"/>
                <a:gd name="connsiteX26" fmla="*/ 69039 w 526052"/>
                <a:gd name="connsiteY26" fmla="*/ 139227 h 387740"/>
                <a:gd name="connsiteX27" fmla="*/ 52837 w 526052"/>
                <a:gd name="connsiteY27" fmla="*/ 147750 h 387740"/>
                <a:gd name="connsiteX28" fmla="*/ 52311 w 526052"/>
                <a:gd name="connsiteY28" fmla="*/ 149643 h 387740"/>
                <a:gd name="connsiteX29" fmla="*/ 103969 w 526052"/>
                <a:gd name="connsiteY29" fmla="*/ 268003 h 387740"/>
                <a:gd name="connsiteX30" fmla="*/ 103337 w 526052"/>
                <a:gd name="connsiteY30" fmla="*/ 269791 h 387740"/>
                <a:gd name="connsiteX31" fmla="*/ 25588 w 526052"/>
                <a:gd name="connsiteY31" fmla="*/ 325868 h 387740"/>
                <a:gd name="connsiteX32" fmla="*/ 128 w 526052"/>
                <a:gd name="connsiteY32" fmla="*/ 379840 h 387740"/>
                <a:gd name="connsiteX33" fmla="*/ 205600 w 526052"/>
                <a:gd name="connsiteY33" fmla="*/ 304300 h 387740"/>
                <a:gd name="connsiteX34" fmla="*/ 211807 w 526052"/>
                <a:gd name="connsiteY34" fmla="*/ 302827 h 387740"/>
                <a:gd name="connsiteX35" fmla="*/ 504392 w 526052"/>
                <a:gd name="connsiteY35" fmla="*/ 298408 h 387740"/>
                <a:gd name="connsiteX36" fmla="*/ 509021 w 526052"/>
                <a:gd name="connsiteY36" fmla="*/ 297356 h 387740"/>
                <a:gd name="connsiteX37" fmla="*/ 525539 w 526052"/>
                <a:gd name="connsiteY37" fmla="*/ 287992 h 387740"/>
                <a:gd name="connsiteX38" fmla="*/ 522593 w 526052"/>
                <a:gd name="connsiteY38" fmla="*/ 285573 h 38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6052" h="387740">
                  <a:moveTo>
                    <a:pt x="522593" y="285362"/>
                  </a:moveTo>
                  <a:lnTo>
                    <a:pt x="280929" y="256430"/>
                  </a:lnTo>
                  <a:cubicBezTo>
                    <a:pt x="280929" y="256430"/>
                    <a:pt x="278194" y="256009"/>
                    <a:pt x="280403" y="254326"/>
                  </a:cubicBezTo>
                  <a:cubicBezTo>
                    <a:pt x="284086" y="251485"/>
                    <a:pt x="392135" y="169738"/>
                    <a:pt x="392135" y="169738"/>
                  </a:cubicBezTo>
                  <a:cubicBezTo>
                    <a:pt x="392135" y="169738"/>
                    <a:pt x="392556" y="169422"/>
                    <a:pt x="393187" y="169422"/>
                  </a:cubicBezTo>
                  <a:cubicBezTo>
                    <a:pt x="400131" y="169738"/>
                    <a:pt x="455155" y="170580"/>
                    <a:pt x="467254" y="170369"/>
                  </a:cubicBezTo>
                  <a:cubicBezTo>
                    <a:pt x="468727" y="170369"/>
                    <a:pt x="472514" y="169633"/>
                    <a:pt x="473882" y="169107"/>
                  </a:cubicBezTo>
                  <a:cubicBezTo>
                    <a:pt x="478090" y="167423"/>
                    <a:pt x="488506" y="162268"/>
                    <a:pt x="489453" y="161532"/>
                  </a:cubicBezTo>
                  <a:cubicBezTo>
                    <a:pt x="491452" y="160269"/>
                    <a:pt x="490189" y="159533"/>
                    <a:pt x="489558" y="159322"/>
                  </a:cubicBezTo>
                  <a:cubicBezTo>
                    <a:pt x="488927" y="159112"/>
                    <a:pt x="428432" y="138702"/>
                    <a:pt x="417490" y="135019"/>
                  </a:cubicBezTo>
                  <a:cubicBezTo>
                    <a:pt x="416438" y="134598"/>
                    <a:pt x="415807" y="133757"/>
                    <a:pt x="415807" y="132494"/>
                  </a:cubicBezTo>
                  <a:cubicBezTo>
                    <a:pt x="415807" y="116187"/>
                    <a:pt x="415807" y="4876"/>
                    <a:pt x="415807" y="1825"/>
                  </a:cubicBezTo>
                  <a:cubicBezTo>
                    <a:pt x="415912" y="-1436"/>
                    <a:pt x="411598" y="668"/>
                    <a:pt x="411598" y="668"/>
                  </a:cubicBezTo>
                  <a:cubicBezTo>
                    <a:pt x="411598" y="668"/>
                    <a:pt x="398763" y="7191"/>
                    <a:pt x="393923" y="9716"/>
                  </a:cubicBezTo>
                  <a:cubicBezTo>
                    <a:pt x="392871" y="10242"/>
                    <a:pt x="391924" y="11294"/>
                    <a:pt x="391504" y="12451"/>
                  </a:cubicBezTo>
                  <a:cubicBezTo>
                    <a:pt x="387190" y="25602"/>
                    <a:pt x="360572" y="109454"/>
                    <a:pt x="358573" y="115661"/>
                  </a:cubicBezTo>
                  <a:cubicBezTo>
                    <a:pt x="358573" y="115871"/>
                    <a:pt x="358258" y="115976"/>
                    <a:pt x="358047" y="115976"/>
                  </a:cubicBezTo>
                  <a:cubicBezTo>
                    <a:pt x="352997" y="114504"/>
                    <a:pt x="331535" y="107455"/>
                    <a:pt x="324801" y="105456"/>
                  </a:cubicBezTo>
                  <a:cubicBezTo>
                    <a:pt x="322908" y="104930"/>
                    <a:pt x="322066" y="105035"/>
                    <a:pt x="320909" y="105561"/>
                  </a:cubicBezTo>
                  <a:cubicBezTo>
                    <a:pt x="318910" y="106613"/>
                    <a:pt x="309125" y="111137"/>
                    <a:pt x="304917" y="113136"/>
                  </a:cubicBezTo>
                  <a:cubicBezTo>
                    <a:pt x="303654" y="113662"/>
                    <a:pt x="303865" y="114924"/>
                    <a:pt x="304286" y="115556"/>
                  </a:cubicBezTo>
                  <a:cubicBezTo>
                    <a:pt x="304706" y="116187"/>
                    <a:pt x="332166" y="145540"/>
                    <a:pt x="336479" y="150800"/>
                  </a:cubicBezTo>
                  <a:cubicBezTo>
                    <a:pt x="337005" y="151432"/>
                    <a:pt x="336164" y="152063"/>
                    <a:pt x="336164" y="152063"/>
                  </a:cubicBezTo>
                  <a:lnTo>
                    <a:pt x="192344" y="226445"/>
                  </a:lnTo>
                  <a:cubicBezTo>
                    <a:pt x="192344" y="226445"/>
                    <a:pt x="191502" y="226972"/>
                    <a:pt x="190555" y="226445"/>
                  </a:cubicBezTo>
                  <a:cubicBezTo>
                    <a:pt x="180666" y="219712"/>
                    <a:pt x="85452" y="148907"/>
                    <a:pt x="72406" y="139648"/>
                  </a:cubicBezTo>
                  <a:cubicBezTo>
                    <a:pt x="71459" y="139017"/>
                    <a:pt x="70407" y="138807"/>
                    <a:pt x="69039" y="139227"/>
                  </a:cubicBezTo>
                  <a:cubicBezTo>
                    <a:pt x="65988" y="140174"/>
                    <a:pt x="58413" y="142910"/>
                    <a:pt x="52837" y="147750"/>
                  </a:cubicBezTo>
                  <a:cubicBezTo>
                    <a:pt x="51890" y="148486"/>
                    <a:pt x="52311" y="149643"/>
                    <a:pt x="52311" y="149643"/>
                  </a:cubicBezTo>
                  <a:cubicBezTo>
                    <a:pt x="52311" y="149643"/>
                    <a:pt x="103758" y="267372"/>
                    <a:pt x="103969" y="268003"/>
                  </a:cubicBezTo>
                  <a:cubicBezTo>
                    <a:pt x="104179" y="268634"/>
                    <a:pt x="103969" y="269476"/>
                    <a:pt x="103337" y="269791"/>
                  </a:cubicBezTo>
                  <a:cubicBezTo>
                    <a:pt x="94815" y="273579"/>
                    <a:pt x="26956" y="303668"/>
                    <a:pt x="25588" y="325868"/>
                  </a:cubicBezTo>
                  <a:cubicBezTo>
                    <a:pt x="17908" y="337230"/>
                    <a:pt x="-1766" y="363637"/>
                    <a:pt x="128" y="379840"/>
                  </a:cubicBezTo>
                  <a:cubicBezTo>
                    <a:pt x="9281" y="415926"/>
                    <a:pt x="182770" y="317451"/>
                    <a:pt x="205600" y="304300"/>
                  </a:cubicBezTo>
                  <a:cubicBezTo>
                    <a:pt x="207178" y="303353"/>
                    <a:pt x="209388" y="302827"/>
                    <a:pt x="211807" y="302827"/>
                  </a:cubicBezTo>
                  <a:cubicBezTo>
                    <a:pt x="244738" y="302406"/>
                    <a:pt x="485139" y="299776"/>
                    <a:pt x="504392" y="298408"/>
                  </a:cubicBezTo>
                  <a:cubicBezTo>
                    <a:pt x="506496" y="298303"/>
                    <a:pt x="508495" y="297566"/>
                    <a:pt x="509021" y="297356"/>
                  </a:cubicBezTo>
                  <a:cubicBezTo>
                    <a:pt x="511652" y="295988"/>
                    <a:pt x="520384" y="291570"/>
                    <a:pt x="525539" y="287992"/>
                  </a:cubicBezTo>
                  <a:cubicBezTo>
                    <a:pt x="527643" y="286204"/>
                    <a:pt x="522593" y="285573"/>
                    <a:pt x="522593" y="285573"/>
                  </a:cubicBezTo>
                </a:path>
              </a:pathLst>
            </a:custGeom>
            <a:grpFill/>
            <a:ln w="10508" cap="flat">
              <a:noFill/>
              <a:prstDash val="solid"/>
              <a:miter/>
            </a:ln>
          </p:spPr>
          <p:txBody>
            <a:bodyPr rtlCol="0" anchor="ctr"/>
            <a:lstStyle/>
            <a:p>
              <a:endParaRPr lang="nl-NL"/>
            </a:p>
          </p:txBody>
        </p:sp>
        <p:grpSp>
          <p:nvGrpSpPr>
            <p:cNvPr id="62" name="Graphic 3">
              <a:extLst>
                <a:ext uri="{FF2B5EF4-FFF2-40B4-BE49-F238E27FC236}">
                  <a16:creationId xmlns:a16="http://schemas.microsoft.com/office/drawing/2014/main" id="{F4B7CD21-12F8-4498-BD75-10FBA1334923}"/>
                </a:ext>
              </a:extLst>
            </p:cNvPr>
            <p:cNvGrpSpPr/>
            <p:nvPr/>
          </p:nvGrpSpPr>
          <p:grpSpPr>
            <a:xfrm>
              <a:off x="2736110" y="1070279"/>
              <a:ext cx="905635" cy="1223271"/>
              <a:chOff x="2736110" y="1070279"/>
              <a:chExt cx="905635" cy="1223271"/>
            </a:xfrm>
            <a:grpFill/>
          </p:grpSpPr>
          <p:sp>
            <p:nvSpPr>
              <p:cNvPr id="69" name="Freeform: Shape 68">
                <a:extLst>
                  <a:ext uri="{FF2B5EF4-FFF2-40B4-BE49-F238E27FC236}">
                    <a16:creationId xmlns:a16="http://schemas.microsoft.com/office/drawing/2014/main" id="{28958E90-4BBC-4BAB-9F13-3EF11BF3FBC9}"/>
                  </a:ext>
                </a:extLst>
              </p:cNvPr>
              <p:cNvSpPr/>
              <p:nvPr/>
            </p:nvSpPr>
            <p:spPr>
              <a:xfrm>
                <a:off x="2736110" y="1457055"/>
                <a:ext cx="759823" cy="836494"/>
              </a:xfrm>
              <a:custGeom>
                <a:avLst/>
                <a:gdLst>
                  <a:gd name="connsiteX0" fmla="*/ 746139 w 759823"/>
                  <a:gd name="connsiteY0" fmla="*/ 739799 h 836494"/>
                  <a:gd name="connsiteX1" fmla="*/ 122884 w 759823"/>
                  <a:gd name="connsiteY1" fmla="*/ 318755 h 836494"/>
                  <a:gd name="connsiteX2" fmla="*/ 241770 w 759823"/>
                  <a:gd name="connsiteY2" fmla="*/ 101078 h 836494"/>
                  <a:gd name="connsiteX3" fmla="*/ 247135 w 759823"/>
                  <a:gd name="connsiteY3" fmla="*/ 89505 h 836494"/>
                  <a:gd name="connsiteX4" fmla="*/ 247135 w 759823"/>
                  <a:gd name="connsiteY4" fmla="*/ 6496 h 836494"/>
                  <a:gd name="connsiteX5" fmla="*/ 237140 w 759823"/>
                  <a:gd name="connsiteY5" fmla="*/ 1025 h 836494"/>
                  <a:gd name="connsiteX6" fmla="*/ 118360 w 759823"/>
                  <a:gd name="connsiteY6" fmla="*/ 85402 h 836494"/>
                  <a:gd name="connsiteX7" fmla="*/ 0 w 759823"/>
                  <a:gd name="connsiteY7" fmla="*/ 326961 h 836494"/>
                  <a:gd name="connsiteX8" fmla="*/ 594534 w 759823"/>
                  <a:gd name="connsiteY8" fmla="*/ 835118 h 836494"/>
                  <a:gd name="connsiteX9" fmla="*/ 630094 w 759823"/>
                  <a:gd name="connsiteY9" fmla="*/ 831857 h 836494"/>
                  <a:gd name="connsiteX10" fmla="*/ 751505 w 759823"/>
                  <a:gd name="connsiteY10" fmla="*/ 758211 h 836494"/>
                  <a:gd name="connsiteX11" fmla="*/ 746244 w 759823"/>
                  <a:gd name="connsiteY11" fmla="*/ 739694 h 83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823" h="836494">
                    <a:moveTo>
                      <a:pt x="746139" y="739799"/>
                    </a:moveTo>
                    <a:cubicBezTo>
                      <a:pt x="404001" y="713076"/>
                      <a:pt x="122568" y="535064"/>
                      <a:pt x="122884" y="318755"/>
                    </a:cubicBezTo>
                    <a:cubicBezTo>
                      <a:pt x="122989" y="234693"/>
                      <a:pt x="166019" y="166834"/>
                      <a:pt x="241770" y="101078"/>
                    </a:cubicBezTo>
                    <a:cubicBezTo>
                      <a:pt x="245136" y="98132"/>
                      <a:pt x="247135" y="93924"/>
                      <a:pt x="247135" y="89505"/>
                    </a:cubicBezTo>
                    <a:lnTo>
                      <a:pt x="247135" y="6496"/>
                    </a:lnTo>
                    <a:cubicBezTo>
                      <a:pt x="247135" y="1341"/>
                      <a:pt x="241454" y="-1710"/>
                      <a:pt x="237140" y="1025"/>
                    </a:cubicBezTo>
                    <a:cubicBezTo>
                      <a:pt x="185799" y="34271"/>
                      <a:pt x="143926" y="63519"/>
                      <a:pt x="118360" y="85402"/>
                    </a:cubicBezTo>
                    <a:cubicBezTo>
                      <a:pt x="23041" y="170937"/>
                      <a:pt x="106" y="235956"/>
                      <a:pt x="0" y="326961"/>
                    </a:cubicBezTo>
                    <a:cubicBezTo>
                      <a:pt x="-315" y="560629"/>
                      <a:pt x="248082" y="778516"/>
                      <a:pt x="594534" y="835118"/>
                    </a:cubicBezTo>
                    <a:cubicBezTo>
                      <a:pt x="612314" y="838064"/>
                      <a:pt x="621257" y="835960"/>
                      <a:pt x="630094" y="831857"/>
                    </a:cubicBezTo>
                    <a:cubicBezTo>
                      <a:pt x="646507" y="824282"/>
                      <a:pt x="748454" y="760105"/>
                      <a:pt x="751505" y="758211"/>
                    </a:cubicBezTo>
                    <a:cubicBezTo>
                      <a:pt x="763920" y="750320"/>
                      <a:pt x="762657" y="740957"/>
                      <a:pt x="746244" y="739694"/>
                    </a:cubicBezTo>
                    <a:close/>
                  </a:path>
                </a:pathLst>
              </a:custGeom>
              <a:grpFill/>
              <a:ln w="10508"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D061D4D9-CD8B-450F-ACC3-FF937B7153E9}"/>
                  </a:ext>
                </a:extLst>
              </p:cNvPr>
              <p:cNvSpPr/>
              <p:nvPr/>
            </p:nvSpPr>
            <p:spPr>
              <a:xfrm>
                <a:off x="3384247" y="1070279"/>
                <a:ext cx="257498" cy="151082"/>
              </a:xfrm>
              <a:custGeom>
                <a:avLst/>
                <a:gdLst>
                  <a:gd name="connsiteX0" fmla="*/ 257499 w 257498"/>
                  <a:gd name="connsiteY0" fmla="*/ 8314 h 151082"/>
                  <a:gd name="connsiteX1" fmla="*/ 248556 w 257498"/>
                  <a:gd name="connsiteY1" fmla="*/ 1686 h 151082"/>
                  <a:gd name="connsiteX2" fmla="*/ 2473 w 257498"/>
                  <a:gd name="connsiteY2" fmla="*/ 142034 h 151082"/>
                  <a:gd name="connsiteX3" fmla="*/ 4788 w 257498"/>
                  <a:gd name="connsiteY3" fmla="*/ 151082 h 151082"/>
                  <a:gd name="connsiteX4" fmla="*/ 115572 w 257498"/>
                  <a:gd name="connsiteY4" fmla="*/ 151082 h 151082"/>
                  <a:gd name="connsiteX5" fmla="*/ 128092 w 257498"/>
                  <a:gd name="connsiteY5" fmla="*/ 147610 h 151082"/>
                  <a:gd name="connsiteX6" fmla="*/ 249608 w 257498"/>
                  <a:gd name="connsiteY6" fmla="*/ 74490 h 151082"/>
                  <a:gd name="connsiteX7" fmla="*/ 256867 w 257498"/>
                  <a:gd name="connsiteY7" fmla="*/ 61655 h 151082"/>
                  <a:gd name="connsiteX8" fmla="*/ 257499 w 257498"/>
                  <a:gd name="connsiteY8" fmla="*/ 8314 h 1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498" h="151082">
                    <a:moveTo>
                      <a:pt x="257499" y="8314"/>
                    </a:moveTo>
                    <a:cubicBezTo>
                      <a:pt x="257499" y="4842"/>
                      <a:pt x="256762" y="-3575"/>
                      <a:pt x="248556" y="1686"/>
                    </a:cubicBezTo>
                    <a:cubicBezTo>
                      <a:pt x="226462" y="15889"/>
                      <a:pt x="125672" y="71965"/>
                      <a:pt x="2473" y="142034"/>
                    </a:cubicBezTo>
                    <a:cubicBezTo>
                      <a:pt x="-1840" y="144454"/>
                      <a:pt x="-157" y="151082"/>
                      <a:pt x="4788" y="151082"/>
                    </a:cubicBezTo>
                    <a:lnTo>
                      <a:pt x="115572" y="151082"/>
                    </a:lnTo>
                    <a:cubicBezTo>
                      <a:pt x="119991" y="151082"/>
                      <a:pt x="124305" y="149820"/>
                      <a:pt x="128092" y="147610"/>
                    </a:cubicBezTo>
                    <a:cubicBezTo>
                      <a:pt x="187535" y="112050"/>
                      <a:pt x="233406" y="84695"/>
                      <a:pt x="249608" y="74490"/>
                    </a:cubicBezTo>
                    <a:cubicBezTo>
                      <a:pt x="258025" y="69230"/>
                      <a:pt x="256867" y="61655"/>
                      <a:pt x="256867" y="61655"/>
                    </a:cubicBezTo>
                    <a:cubicBezTo>
                      <a:pt x="256867" y="61655"/>
                      <a:pt x="257499" y="11786"/>
                      <a:pt x="257499" y="8314"/>
                    </a:cubicBezTo>
                    <a:close/>
                  </a:path>
                </a:pathLst>
              </a:custGeom>
              <a:grpFill/>
              <a:ln w="10508" cap="flat">
                <a:noFill/>
                <a:prstDash val="solid"/>
                <a:miter/>
              </a:ln>
            </p:spPr>
            <p:txBody>
              <a:bodyPr rtlCol="0" anchor="ctr"/>
              <a:lstStyle/>
              <a:p>
                <a:endParaRPr lang="nl-NL"/>
              </a:p>
            </p:txBody>
          </p:sp>
        </p:grpSp>
        <p:sp>
          <p:nvSpPr>
            <p:cNvPr id="63" name="Freeform: Shape 62">
              <a:extLst>
                <a:ext uri="{FF2B5EF4-FFF2-40B4-BE49-F238E27FC236}">
                  <a16:creationId xmlns:a16="http://schemas.microsoft.com/office/drawing/2014/main" id="{B724BC1A-497A-4CF9-8863-5E4B5E519110}"/>
                </a:ext>
              </a:extLst>
            </p:cNvPr>
            <p:cNvSpPr/>
            <p:nvPr/>
          </p:nvSpPr>
          <p:spPr>
            <a:xfrm>
              <a:off x="3350195" y="1295323"/>
              <a:ext cx="172314" cy="116781"/>
            </a:xfrm>
            <a:custGeom>
              <a:avLst/>
              <a:gdLst>
                <a:gd name="connsiteX0" fmla="*/ 160145 w 172314"/>
                <a:gd name="connsiteY0" fmla="*/ 0 h 116781"/>
                <a:gd name="connsiteX1" fmla="*/ 86394 w 172314"/>
                <a:gd name="connsiteY1" fmla="*/ 0 h 116781"/>
                <a:gd name="connsiteX2" fmla="*/ 74295 w 172314"/>
                <a:gd name="connsiteY2" fmla="*/ 5681 h 116781"/>
                <a:gd name="connsiteX3" fmla="*/ 2122 w 172314"/>
                <a:gd name="connsiteY3" fmla="*/ 101316 h 116781"/>
                <a:gd name="connsiteX4" fmla="*/ 859 w 172314"/>
                <a:gd name="connsiteY4" fmla="*/ 110785 h 116781"/>
                <a:gd name="connsiteX5" fmla="*/ 12117 w 172314"/>
                <a:gd name="connsiteY5" fmla="*/ 116782 h 116781"/>
                <a:gd name="connsiteX6" fmla="*/ 67561 w 172314"/>
                <a:gd name="connsiteY6" fmla="*/ 116782 h 116781"/>
                <a:gd name="connsiteX7" fmla="*/ 78819 w 172314"/>
                <a:gd name="connsiteY7" fmla="*/ 112152 h 116781"/>
                <a:gd name="connsiteX8" fmla="*/ 169298 w 172314"/>
                <a:gd name="connsiteY8" fmla="*/ 16518 h 116781"/>
                <a:gd name="connsiteX9" fmla="*/ 171613 w 172314"/>
                <a:gd name="connsiteY9" fmla="*/ 6418 h 116781"/>
                <a:gd name="connsiteX10" fmla="*/ 160145 w 172314"/>
                <a:gd name="connsiteY10" fmla="*/ 0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160145" y="0"/>
                  </a:moveTo>
                  <a:lnTo>
                    <a:pt x="86394" y="0"/>
                  </a:lnTo>
                  <a:cubicBezTo>
                    <a:pt x="81554" y="0"/>
                    <a:pt x="76925" y="2209"/>
                    <a:pt x="74295" y="5681"/>
                  </a:cubicBezTo>
                  <a:lnTo>
                    <a:pt x="2122" y="101316"/>
                  </a:lnTo>
                  <a:cubicBezTo>
                    <a:pt x="-193" y="104367"/>
                    <a:pt x="-614" y="107734"/>
                    <a:pt x="859" y="110785"/>
                  </a:cubicBezTo>
                  <a:cubicBezTo>
                    <a:pt x="2332" y="113730"/>
                    <a:pt x="6014" y="116782"/>
                    <a:pt x="12117" y="116782"/>
                  </a:cubicBezTo>
                  <a:lnTo>
                    <a:pt x="67561" y="116782"/>
                  </a:lnTo>
                  <a:cubicBezTo>
                    <a:pt x="71875" y="116782"/>
                    <a:pt x="76083" y="115098"/>
                    <a:pt x="78819" y="112152"/>
                  </a:cubicBezTo>
                  <a:lnTo>
                    <a:pt x="169298" y="16518"/>
                  </a:lnTo>
                  <a:cubicBezTo>
                    <a:pt x="173296" y="12309"/>
                    <a:pt x="172454" y="8311"/>
                    <a:pt x="171613" y="6418"/>
                  </a:cubicBezTo>
                  <a:cubicBezTo>
                    <a:pt x="170245" y="3261"/>
                    <a:pt x="166563" y="0"/>
                    <a:pt x="160145" y="0"/>
                  </a:cubicBezTo>
                  <a:close/>
                </a:path>
              </a:pathLst>
            </a:custGeom>
            <a:grpFill/>
            <a:ln w="10508"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73DB3957-E7EB-42A6-84F5-A81EEE70B03F}"/>
                </a:ext>
              </a:extLst>
            </p:cNvPr>
            <p:cNvSpPr/>
            <p:nvPr/>
          </p:nvSpPr>
          <p:spPr>
            <a:xfrm>
              <a:off x="2964027" y="1295323"/>
              <a:ext cx="172314" cy="116781"/>
            </a:xfrm>
            <a:custGeom>
              <a:avLst/>
              <a:gdLst>
                <a:gd name="connsiteX0" fmla="*/ 98020 w 172314"/>
                <a:gd name="connsiteY0" fmla="*/ 5681 h 116781"/>
                <a:gd name="connsiteX1" fmla="*/ 85921 w 172314"/>
                <a:gd name="connsiteY1" fmla="*/ 0 h 116781"/>
                <a:gd name="connsiteX2" fmla="*/ 12170 w 172314"/>
                <a:gd name="connsiteY2" fmla="*/ 0 h 116781"/>
                <a:gd name="connsiteX3" fmla="*/ 702 w 172314"/>
                <a:gd name="connsiteY3" fmla="*/ 6418 h 116781"/>
                <a:gd name="connsiteX4" fmla="*/ 3017 w 172314"/>
                <a:gd name="connsiteY4" fmla="*/ 16518 h 116781"/>
                <a:gd name="connsiteX5" fmla="*/ 93496 w 172314"/>
                <a:gd name="connsiteY5" fmla="*/ 112152 h 116781"/>
                <a:gd name="connsiteX6" fmla="*/ 104753 w 172314"/>
                <a:gd name="connsiteY6" fmla="*/ 116782 h 116781"/>
                <a:gd name="connsiteX7" fmla="*/ 160198 w 172314"/>
                <a:gd name="connsiteY7" fmla="*/ 116782 h 116781"/>
                <a:gd name="connsiteX8" fmla="*/ 171455 w 172314"/>
                <a:gd name="connsiteY8" fmla="*/ 110785 h 116781"/>
                <a:gd name="connsiteX9" fmla="*/ 170193 w 172314"/>
                <a:gd name="connsiteY9" fmla="*/ 101316 h 116781"/>
                <a:gd name="connsiteX10" fmla="*/ 98020 w 172314"/>
                <a:gd name="connsiteY10" fmla="*/ 5681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98020" y="5681"/>
                  </a:moveTo>
                  <a:cubicBezTo>
                    <a:pt x="95390" y="2209"/>
                    <a:pt x="90761" y="0"/>
                    <a:pt x="85921" y="0"/>
                  </a:cubicBezTo>
                  <a:lnTo>
                    <a:pt x="12170" y="0"/>
                  </a:lnTo>
                  <a:cubicBezTo>
                    <a:pt x="5752" y="0"/>
                    <a:pt x="2070" y="3367"/>
                    <a:pt x="702" y="6418"/>
                  </a:cubicBezTo>
                  <a:cubicBezTo>
                    <a:pt x="-140" y="8417"/>
                    <a:pt x="-981" y="12309"/>
                    <a:pt x="3017" y="16518"/>
                  </a:cubicBezTo>
                  <a:lnTo>
                    <a:pt x="93496" y="112152"/>
                  </a:lnTo>
                  <a:cubicBezTo>
                    <a:pt x="96231" y="115098"/>
                    <a:pt x="100440" y="116782"/>
                    <a:pt x="104753" y="116782"/>
                  </a:cubicBezTo>
                  <a:lnTo>
                    <a:pt x="160198" y="116782"/>
                  </a:lnTo>
                  <a:cubicBezTo>
                    <a:pt x="166300" y="116782"/>
                    <a:pt x="169983" y="113625"/>
                    <a:pt x="171455" y="110785"/>
                  </a:cubicBezTo>
                  <a:cubicBezTo>
                    <a:pt x="172928" y="107734"/>
                    <a:pt x="172508" y="104367"/>
                    <a:pt x="170193" y="101316"/>
                  </a:cubicBezTo>
                  <a:lnTo>
                    <a:pt x="98020" y="5681"/>
                  </a:lnTo>
                  <a:close/>
                </a:path>
              </a:pathLst>
            </a:custGeom>
            <a:grpFill/>
            <a:ln w="10508" cap="flat">
              <a:noFill/>
              <a:prstDash val="solid"/>
              <a:miter/>
            </a:ln>
          </p:spPr>
          <p:txBody>
            <a:bodyPr rtlCol="0" anchor="ctr"/>
            <a:lstStyle/>
            <a:p>
              <a:endParaRPr lang="nl-NL"/>
            </a:p>
          </p:txBody>
        </p:sp>
        <p:sp>
          <p:nvSpPr>
            <p:cNvPr id="65" name="Freeform: Shape 64">
              <a:extLst>
                <a:ext uri="{FF2B5EF4-FFF2-40B4-BE49-F238E27FC236}">
                  <a16:creationId xmlns:a16="http://schemas.microsoft.com/office/drawing/2014/main" id="{E63CCC1D-74EF-49F8-BACE-D8BA6D3ADDCE}"/>
                </a:ext>
              </a:extLst>
            </p:cNvPr>
            <p:cNvSpPr/>
            <p:nvPr/>
          </p:nvSpPr>
          <p:spPr>
            <a:xfrm>
              <a:off x="3367993" y="1318246"/>
              <a:ext cx="905530" cy="1223274"/>
            </a:xfrm>
            <a:custGeom>
              <a:avLst/>
              <a:gdLst>
                <a:gd name="connsiteX0" fmla="*/ 782752 w 905530"/>
                <a:gd name="connsiteY0" fmla="*/ 517744 h 1223274"/>
                <a:gd name="connsiteX1" fmla="*/ 555501 w 905530"/>
                <a:gd name="connsiteY1" fmla="*/ 815905 h 1223274"/>
                <a:gd name="connsiteX2" fmla="*/ 7891 w 905530"/>
                <a:gd name="connsiteY2" fmla="*/ 1148785 h 1223274"/>
                <a:gd name="connsiteX3" fmla="*/ 631 w 905530"/>
                <a:gd name="connsiteY3" fmla="*/ 1161620 h 1223274"/>
                <a:gd name="connsiteX4" fmla="*/ 0 w 905530"/>
                <a:gd name="connsiteY4" fmla="*/ 1214961 h 1223274"/>
                <a:gd name="connsiteX5" fmla="*/ 8943 w 905530"/>
                <a:gd name="connsiteY5" fmla="*/ 1221589 h 1223274"/>
                <a:gd name="connsiteX6" fmla="*/ 787170 w 905530"/>
                <a:gd name="connsiteY6" fmla="*/ 751202 h 1223274"/>
                <a:gd name="connsiteX7" fmla="*/ 905530 w 905530"/>
                <a:gd name="connsiteY7" fmla="*/ 509538 h 1223274"/>
                <a:gd name="connsiteX8" fmla="*/ 310996 w 905530"/>
                <a:gd name="connsiteY8" fmla="*/ 1380 h 1223274"/>
                <a:gd name="connsiteX9" fmla="*/ 275436 w 905530"/>
                <a:gd name="connsiteY9" fmla="*/ 4537 h 1223274"/>
                <a:gd name="connsiteX10" fmla="*/ 154025 w 905530"/>
                <a:gd name="connsiteY10" fmla="*/ 78288 h 1223274"/>
                <a:gd name="connsiteX11" fmla="*/ 159286 w 905530"/>
                <a:gd name="connsiteY11" fmla="*/ 96804 h 1223274"/>
                <a:gd name="connsiteX12" fmla="*/ 782541 w 905530"/>
                <a:gd name="connsiteY12" fmla="*/ 517849 h 122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5530" h="1223274">
                  <a:moveTo>
                    <a:pt x="782752" y="517744"/>
                  </a:moveTo>
                  <a:cubicBezTo>
                    <a:pt x="782541" y="636104"/>
                    <a:pt x="697638" y="722374"/>
                    <a:pt x="555501" y="815905"/>
                  </a:cubicBezTo>
                  <a:cubicBezTo>
                    <a:pt x="427567" y="899966"/>
                    <a:pt x="60495" y="1115749"/>
                    <a:pt x="7891" y="1148785"/>
                  </a:cubicBezTo>
                  <a:cubicBezTo>
                    <a:pt x="-526" y="1154045"/>
                    <a:pt x="631" y="1161620"/>
                    <a:pt x="631" y="1161620"/>
                  </a:cubicBezTo>
                  <a:cubicBezTo>
                    <a:pt x="631" y="1161620"/>
                    <a:pt x="0" y="1211489"/>
                    <a:pt x="0" y="1214961"/>
                  </a:cubicBezTo>
                  <a:cubicBezTo>
                    <a:pt x="0" y="1218433"/>
                    <a:pt x="736" y="1226850"/>
                    <a:pt x="8943" y="1221589"/>
                  </a:cubicBezTo>
                  <a:cubicBezTo>
                    <a:pt x="66176" y="1184766"/>
                    <a:pt x="652609" y="866931"/>
                    <a:pt x="787170" y="751202"/>
                  </a:cubicBezTo>
                  <a:cubicBezTo>
                    <a:pt x="882594" y="665667"/>
                    <a:pt x="905425" y="600648"/>
                    <a:pt x="905530" y="509538"/>
                  </a:cubicBezTo>
                  <a:cubicBezTo>
                    <a:pt x="905846" y="275869"/>
                    <a:pt x="657448" y="57983"/>
                    <a:pt x="310996" y="1380"/>
                  </a:cubicBezTo>
                  <a:cubicBezTo>
                    <a:pt x="293216" y="-1566"/>
                    <a:pt x="284273" y="539"/>
                    <a:pt x="275436" y="4537"/>
                  </a:cubicBezTo>
                  <a:cubicBezTo>
                    <a:pt x="259023" y="12112"/>
                    <a:pt x="157076" y="76289"/>
                    <a:pt x="154025" y="78288"/>
                  </a:cubicBezTo>
                  <a:cubicBezTo>
                    <a:pt x="141611" y="86178"/>
                    <a:pt x="142873" y="95542"/>
                    <a:pt x="159286" y="96804"/>
                  </a:cubicBezTo>
                  <a:cubicBezTo>
                    <a:pt x="501424" y="123527"/>
                    <a:pt x="782857" y="301540"/>
                    <a:pt x="782541" y="517849"/>
                  </a:cubicBezTo>
                </a:path>
              </a:pathLst>
            </a:custGeom>
            <a:grpFill/>
            <a:ln w="10508" cap="flat">
              <a:noFill/>
              <a:prstDash val="solid"/>
              <a:miter/>
            </a:ln>
          </p:spPr>
          <p:txBody>
            <a:bodyPr rtlCol="0" anchor="ctr"/>
            <a:lstStyle/>
            <a:p>
              <a:endParaRPr lang="nl-NL"/>
            </a:p>
          </p:txBody>
        </p:sp>
        <p:sp>
          <p:nvSpPr>
            <p:cNvPr id="66" name="Freeform: Shape 65">
              <a:extLst>
                <a:ext uri="{FF2B5EF4-FFF2-40B4-BE49-F238E27FC236}">
                  <a16:creationId xmlns:a16="http://schemas.microsoft.com/office/drawing/2014/main" id="{F81D0BEE-66AC-4BAF-BC3F-A3D3F4D38234}"/>
                </a:ext>
              </a:extLst>
            </p:cNvPr>
            <p:cNvSpPr/>
            <p:nvPr/>
          </p:nvSpPr>
          <p:spPr>
            <a:xfrm>
              <a:off x="3067097" y="1528570"/>
              <a:ext cx="872073" cy="474700"/>
            </a:xfrm>
            <a:custGeom>
              <a:avLst/>
              <a:gdLst>
                <a:gd name="connsiteX0" fmla="*/ 300791 w 872073"/>
                <a:gd name="connsiteY0" fmla="*/ 469651 h 474700"/>
                <a:gd name="connsiteX1" fmla="*/ 351607 w 872073"/>
                <a:gd name="connsiteY1" fmla="*/ 469651 h 474700"/>
                <a:gd name="connsiteX2" fmla="*/ 351607 w 872073"/>
                <a:gd name="connsiteY2" fmla="*/ 279223 h 474700"/>
                <a:gd name="connsiteX3" fmla="*/ 177697 w 872073"/>
                <a:gd name="connsiteY3" fmla="*/ 110364 h 474700"/>
                <a:gd name="connsiteX4" fmla="*/ 102789 w 872073"/>
                <a:gd name="connsiteY4" fmla="*/ 133930 h 474700"/>
                <a:gd name="connsiteX5" fmla="*/ 42504 w 872073"/>
                <a:gd name="connsiteY5" fmla="*/ 112678 h 474700"/>
                <a:gd name="connsiteX6" fmla="*/ 0 w 872073"/>
                <a:gd name="connsiteY6" fmla="*/ 112678 h 474700"/>
                <a:gd name="connsiteX7" fmla="*/ 0 w 872073"/>
                <a:gd name="connsiteY7" fmla="*/ 398530 h 474700"/>
                <a:gd name="connsiteX8" fmla="*/ 79959 w 872073"/>
                <a:gd name="connsiteY8" fmla="*/ 469651 h 474700"/>
                <a:gd name="connsiteX9" fmla="*/ 120569 w 872073"/>
                <a:gd name="connsiteY9" fmla="*/ 469651 h 474700"/>
                <a:gd name="connsiteX10" fmla="*/ 120569 w 872073"/>
                <a:gd name="connsiteY10" fmla="*/ 274173 h 474700"/>
                <a:gd name="connsiteX11" fmla="*/ 174541 w 872073"/>
                <a:gd name="connsiteY11" fmla="*/ 208208 h 474700"/>
                <a:gd name="connsiteX12" fmla="*/ 231038 w 872073"/>
                <a:gd name="connsiteY12" fmla="*/ 276172 h 474700"/>
                <a:gd name="connsiteX13" fmla="*/ 231038 w 872073"/>
                <a:gd name="connsiteY13" fmla="*/ 398635 h 474700"/>
                <a:gd name="connsiteX14" fmla="*/ 300896 w 872073"/>
                <a:gd name="connsiteY14" fmla="*/ 469756 h 474700"/>
                <a:gd name="connsiteX15" fmla="*/ 618731 w 872073"/>
                <a:gd name="connsiteY15" fmla="*/ 418835 h 474700"/>
                <a:gd name="connsiteX16" fmla="*/ 618731 w 872073"/>
                <a:gd name="connsiteY16" fmla="*/ 376962 h 474700"/>
                <a:gd name="connsiteX17" fmla="*/ 592114 w 872073"/>
                <a:gd name="connsiteY17" fmla="*/ 376962 h 474700"/>
                <a:gd name="connsiteX18" fmla="*/ 541298 w 872073"/>
                <a:gd name="connsiteY18" fmla="*/ 336352 h 474700"/>
                <a:gd name="connsiteX19" fmla="*/ 541298 w 872073"/>
                <a:gd name="connsiteY19" fmla="*/ 83115 h 474700"/>
                <a:gd name="connsiteX20" fmla="*/ 463233 w 872073"/>
                <a:gd name="connsiteY20" fmla="*/ 0 h 474700"/>
                <a:gd name="connsiteX21" fmla="*/ 420729 w 872073"/>
                <a:gd name="connsiteY21" fmla="*/ 0 h 474700"/>
                <a:gd name="connsiteX22" fmla="*/ 420729 w 872073"/>
                <a:gd name="connsiteY22" fmla="*/ 354132 h 474700"/>
                <a:gd name="connsiteX23" fmla="*/ 540035 w 872073"/>
                <a:gd name="connsiteY23" fmla="*/ 474701 h 474700"/>
                <a:gd name="connsiteX24" fmla="*/ 618731 w 872073"/>
                <a:gd name="connsiteY24" fmla="*/ 418835 h 474700"/>
                <a:gd name="connsiteX25" fmla="*/ 871968 w 872073"/>
                <a:gd name="connsiteY25" fmla="*/ 210627 h 474700"/>
                <a:gd name="connsiteX26" fmla="*/ 871968 w 872073"/>
                <a:gd name="connsiteY26" fmla="*/ 166229 h 474700"/>
                <a:gd name="connsiteX27" fmla="*/ 783804 w 872073"/>
                <a:gd name="connsiteY27" fmla="*/ 109101 h 474700"/>
                <a:gd name="connsiteX28" fmla="*/ 656922 w 872073"/>
                <a:gd name="connsiteY28" fmla="*/ 235352 h 474700"/>
                <a:gd name="connsiteX29" fmla="*/ 656922 w 872073"/>
                <a:gd name="connsiteY29" fmla="*/ 387062 h 474700"/>
                <a:gd name="connsiteX30" fmla="*/ 740668 w 872073"/>
                <a:gd name="connsiteY30" fmla="*/ 469546 h 474700"/>
                <a:gd name="connsiteX31" fmla="*/ 773704 w 872073"/>
                <a:gd name="connsiteY31" fmla="*/ 469546 h 474700"/>
                <a:gd name="connsiteX32" fmla="*/ 773704 w 872073"/>
                <a:gd name="connsiteY32" fmla="*/ 260707 h 474700"/>
                <a:gd name="connsiteX33" fmla="*/ 825782 w 872073"/>
                <a:gd name="connsiteY33" fmla="*/ 203579 h 474700"/>
                <a:gd name="connsiteX34" fmla="*/ 868286 w 872073"/>
                <a:gd name="connsiteY34" fmla="*/ 210522 h 474700"/>
                <a:gd name="connsiteX35" fmla="*/ 872074 w 872073"/>
                <a:gd name="connsiteY35" fmla="*/ 210522 h 4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2073" h="474700">
                  <a:moveTo>
                    <a:pt x="300791" y="469651"/>
                  </a:moveTo>
                  <a:lnTo>
                    <a:pt x="351607" y="469651"/>
                  </a:lnTo>
                  <a:lnTo>
                    <a:pt x="351607" y="279223"/>
                  </a:lnTo>
                  <a:cubicBezTo>
                    <a:pt x="351607" y="175803"/>
                    <a:pt x="301107" y="101421"/>
                    <a:pt x="177697" y="110364"/>
                  </a:cubicBezTo>
                  <a:cubicBezTo>
                    <a:pt x="145609" y="112678"/>
                    <a:pt x="106787" y="133194"/>
                    <a:pt x="102789" y="133930"/>
                  </a:cubicBezTo>
                  <a:cubicBezTo>
                    <a:pt x="89848" y="119306"/>
                    <a:pt x="69964" y="112678"/>
                    <a:pt x="42504" y="112678"/>
                  </a:cubicBezTo>
                  <a:lnTo>
                    <a:pt x="0" y="112678"/>
                  </a:lnTo>
                  <a:lnTo>
                    <a:pt x="0" y="398530"/>
                  </a:lnTo>
                  <a:cubicBezTo>
                    <a:pt x="0" y="449346"/>
                    <a:pt x="28617" y="469651"/>
                    <a:pt x="79959" y="469651"/>
                  </a:cubicBezTo>
                  <a:lnTo>
                    <a:pt x="120569" y="469651"/>
                  </a:lnTo>
                  <a:lnTo>
                    <a:pt x="120569" y="274173"/>
                  </a:lnTo>
                  <a:cubicBezTo>
                    <a:pt x="120569" y="231669"/>
                    <a:pt x="139612" y="208208"/>
                    <a:pt x="174541" y="208208"/>
                  </a:cubicBezTo>
                  <a:cubicBezTo>
                    <a:pt x="215151" y="208208"/>
                    <a:pt x="231038" y="229144"/>
                    <a:pt x="231038" y="276172"/>
                  </a:cubicBezTo>
                  <a:lnTo>
                    <a:pt x="231038" y="398635"/>
                  </a:lnTo>
                  <a:cubicBezTo>
                    <a:pt x="231038" y="451976"/>
                    <a:pt x="247556" y="469756"/>
                    <a:pt x="300896" y="469756"/>
                  </a:cubicBezTo>
                  <a:moveTo>
                    <a:pt x="618731" y="418835"/>
                  </a:moveTo>
                  <a:lnTo>
                    <a:pt x="618731" y="376962"/>
                  </a:lnTo>
                  <a:lnTo>
                    <a:pt x="592114" y="376962"/>
                  </a:lnTo>
                  <a:cubicBezTo>
                    <a:pt x="558447" y="376962"/>
                    <a:pt x="541298" y="367388"/>
                    <a:pt x="541298" y="336352"/>
                  </a:cubicBezTo>
                  <a:lnTo>
                    <a:pt x="541298" y="83115"/>
                  </a:lnTo>
                  <a:cubicBezTo>
                    <a:pt x="541298" y="24093"/>
                    <a:pt x="515943" y="0"/>
                    <a:pt x="463233" y="0"/>
                  </a:cubicBezTo>
                  <a:lnTo>
                    <a:pt x="420729" y="0"/>
                  </a:lnTo>
                  <a:lnTo>
                    <a:pt x="420729" y="354132"/>
                  </a:lnTo>
                  <a:cubicBezTo>
                    <a:pt x="420729" y="436615"/>
                    <a:pt x="475963" y="474701"/>
                    <a:pt x="540035" y="474701"/>
                  </a:cubicBezTo>
                  <a:cubicBezTo>
                    <a:pt x="578121" y="474701"/>
                    <a:pt x="618731" y="461339"/>
                    <a:pt x="618731" y="418835"/>
                  </a:cubicBezTo>
                  <a:moveTo>
                    <a:pt x="871968" y="210627"/>
                  </a:moveTo>
                  <a:lnTo>
                    <a:pt x="871968" y="166229"/>
                  </a:lnTo>
                  <a:cubicBezTo>
                    <a:pt x="871968" y="133825"/>
                    <a:pt x="844088" y="109101"/>
                    <a:pt x="783804" y="109101"/>
                  </a:cubicBezTo>
                  <a:cubicBezTo>
                    <a:pt x="704476" y="109101"/>
                    <a:pt x="656922" y="164967"/>
                    <a:pt x="656922" y="235352"/>
                  </a:cubicBezTo>
                  <a:lnTo>
                    <a:pt x="656922" y="387062"/>
                  </a:lnTo>
                  <a:cubicBezTo>
                    <a:pt x="656922" y="445453"/>
                    <a:pt x="688695" y="469546"/>
                    <a:pt x="740668" y="469546"/>
                  </a:cubicBezTo>
                  <a:lnTo>
                    <a:pt x="773704" y="469546"/>
                  </a:lnTo>
                  <a:lnTo>
                    <a:pt x="773704" y="260707"/>
                  </a:lnTo>
                  <a:cubicBezTo>
                    <a:pt x="773704" y="218203"/>
                    <a:pt x="796534" y="203579"/>
                    <a:pt x="825782" y="203579"/>
                  </a:cubicBezTo>
                  <a:cubicBezTo>
                    <a:pt x="841668" y="203579"/>
                    <a:pt x="853031" y="204841"/>
                    <a:pt x="868286" y="210522"/>
                  </a:cubicBezTo>
                  <a:lnTo>
                    <a:pt x="872074" y="210522"/>
                  </a:lnTo>
                  <a:close/>
                </a:path>
              </a:pathLst>
            </a:custGeom>
            <a:grpFill/>
            <a:ln w="10508"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23F01E29-B037-418C-8724-8231BEFC046A}"/>
                </a:ext>
              </a:extLst>
            </p:cNvPr>
            <p:cNvSpPr/>
            <p:nvPr/>
          </p:nvSpPr>
          <p:spPr>
            <a:xfrm>
              <a:off x="3058112" y="1456923"/>
              <a:ext cx="369550" cy="61020"/>
            </a:xfrm>
            <a:custGeom>
              <a:avLst/>
              <a:gdLst>
                <a:gd name="connsiteX0" fmla="*/ 367325 w 369550"/>
                <a:gd name="connsiteY0" fmla="*/ 4734 h 61020"/>
                <a:gd name="connsiteX1" fmla="*/ 358067 w 369550"/>
                <a:gd name="connsiteY1" fmla="*/ 0 h 61020"/>
                <a:gd name="connsiteX2" fmla="*/ 11404 w 369550"/>
                <a:gd name="connsiteY2" fmla="*/ 0 h 61020"/>
                <a:gd name="connsiteX3" fmla="*/ 2146 w 369550"/>
                <a:gd name="connsiteY3" fmla="*/ 4734 h 61020"/>
                <a:gd name="connsiteX4" fmla="*/ 673 w 369550"/>
                <a:gd name="connsiteY4" fmla="*/ 15045 h 61020"/>
                <a:gd name="connsiteX5" fmla="*/ 13824 w 369550"/>
                <a:gd name="connsiteY5" fmla="*/ 53341 h 61020"/>
                <a:gd name="connsiteX6" fmla="*/ 24661 w 369550"/>
                <a:gd name="connsiteY6" fmla="*/ 61021 h 61020"/>
                <a:gd name="connsiteX7" fmla="*/ 344915 w 369550"/>
                <a:gd name="connsiteY7" fmla="*/ 61021 h 61020"/>
                <a:gd name="connsiteX8" fmla="*/ 355752 w 369550"/>
                <a:gd name="connsiteY8" fmla="*/ 53341 h 61020"/>
                <a:gd name="connsiteX9" fmla="*/ 368903 w 369550"/>
                <a:gd name="connsiteY9" fmla="*/ 15045 h 61020"/>
                <a:gd name="connsiteX10" fmla="*/ 367430 w 369550"/>
                <a:gd name="connsiteY10" fmla="*/ 4734 h 6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9550" h="61020">
                  <a:moveTo>
                    <a:pt x="367325" y="4734"/>
                  </a:moveTo>
                  <a:cubicBezTo>
                    <a:pt x="365115" y="1683"/>
                    <a:pt x="361749" y="0"/>
                    <a:pt x="358067" y="0"/>
                  </a:cubicBezTo>
                  <a:lnTo>
                    <a:pt x="11404" y="0"/>
                  </a:lnTo>
                  <a:cubicBezTo>
                    <a:pt x="7617" y="0"/>
                    <a:pt x="4250" y="1789"/>
                    <a:pt x="2146" y="4734"/>
                  </a:cubicBezTo>
                  <a:cubicBezTo>
                    <a:pt x="-63" y="7785"/>
                    <a:pt x="-589" y="11573"/>
                    <a:pt x="673" y="15045"/>
                  </a:cubicBezTo>
                  <a:lnTo>
                    <a:pt x="13824" y="53341"/>
                  </a:lnTo>
                  <a:cubicBezTo>
                    <a:pt x="15402" y="57970"/>
                    <a:pt x="19716" y="61021"/>
                    <a:pt x="24661" y="61021"/>
                  </a:cubicBezTo>
                  <a:lnTo>
                    <a:pt x="344915" y="61021"/>
                  </a:lnTo>
                  <a:cubicBezTo>
                    <a:pt x="349755" y="61021"/>
                    <a:pt x="354174" y="57970"/>
                    <a:pt x="355752" y="53341"/>
                  </a:cubicBezTo>
                  <a:lnTo>
                    <a:pt x="368903" y="15045"/>
                  </a:lnTo>
                  <a:cubicBezTo>
                    <a:pt x="370165" y="11468"/>
                    <a:pt x="369534" y="7785"/>
                    <a:pt x="367430" y="4734"/>
                  </a:cubicBezTo>
                  <a:close/>
                </a:path>
              </a:pathLst>
            </a:custGeom>
            <a:grpFill/>
            <a:ln w="10508" cap="flat">
              <a:noFill/>
              <a:prstDash val="solid"/>
              <a:miter/>
            </a:ln>
          </p:spPr>
          <p:txBody>
            <a:bodyPr rtlCol="0" anchor="ctr"/>
            <a:lstStyle/>
            <a:p>
              <a:endParaRPr lang="nl-NL"/>
            </a:p>
          </p:txBody>
        </p:sp>
        <p:sp>
          <p:nvSpPr>
            <p:cNvPr id="68" name="Freeform: Shape 67">
              <a:extLst>
                <a:ext uri="{FF2B5EF4-FFF2-40B4-BE49-F238E27FC236}">
                  <a16:creationId xmlns:a16="http://schemas.microsoft.com/office/drawing/2014/main" id="{E2340561-75A4-4C25-9147-71EA8A57B437}"/>
                </a:ext>
              </a:extLst>
            </p:cNvPr>
            <p:cNvSpPr/>
            <p:nvPr/>
          </p:nvSpPr>
          <p:spPr>
            <a:xfrm>
              <a:off x="3144504" y="1065863"/>
              <a:ext cx="197634" cy="343295"/>
            </a:xfrm>
            <a:custGeom>
              <a:avLst/>
              <a:gdLst>
                <a:gd name="connsiteX0" fmla="*/ 192242 w 197634"/>
                <a:gd name="connsiteY0" fmla="*/ 192742 h 343295"/>
                <a:gd name="connsiteX1" fmla="*/ 123331 w 197634"/>
                <a:gd name="connsiteY1" fmla="*/ 91005 h 343295"/>
                <a:gd name="connsiteX2" fmla="*/ 117860 w 197634"/>
                <a:gd name="connsiteY2" fmla="*/ 84798 h 343295"/>
                <a:gd name="connsiteX3" fmla="*/ 143005 w 197634"/>
                <a:gd name="connsiteY3" fmla="*/ 44714 h 343295"/>
                <a:gd name="connsiteX4" fmla="*/ 98291 w 197634"/>
                <a:gd name="connsiteY4" fmla="*/ 0 h 343295"/>
                <a:gd name="connsiteX5" fmla="*/ 53577 w 197634"/>
                <a:gd name="connsiteY5" fmla="*/ 44714 h 343295"/>
                <a:gd name="connsiteX6" fmla="*/ 79248 w 197634"/>
                <a:gd name="connsiteY6" fmla="*/ 85009 h 343295"/>
                <a:gd name="connsiteX7" fmla="*/ 74198 w 197634"/>
                <a:gd name="connsiteY7" fmla="*/ 90900 h 343295"/>
                <a:gd name="connsiteX8" fmla="*/ 5287 w 197634"/>
                <a:gd name="connsiteY8" fmla="*/ 192637 h 343295"/>
                <a:gd name="connsiteX9" fmla="*/ 5287 w 197634"/>
                <a:gd name="connsiteY9" fmla="*/ 227776 h 343295"/>
                <a:gd name="connsiteX10" fmla="*/ 74198 w 197634"/>
                <a:gd name="connsiteY10" fmla="*/ 329513 h 343295"/>
                <a:gd name="connsiteX11" fmla="*/ 98817 w 197634"/>
                <a:gd name="connsiteY11" fmla="*/ 343295 h 343295"/>
                <a:gd name="connsiteX12" fmla="*/ 123436 w 197634"/>
                <a:gd name="connsiteY12" fmla="*/ 329513 h 343295"/>
                <a:gd name="connsiteX13" fmla="*/ 192347 w 197634"/>
                <a:gd name="connsiteY13" fmla="*/ 227776 h 343295"/>
                <a:gd name="connsiteX14" fmla="*/ 192347 w 197634"/>
                <a:gd name="connsiteY14" fmla="*/ 192637 h 3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634" h="343295">
                  <a:moveTo>
                    <a:pt x="192242" y="192742"/>
                  </a:moveTo>
                  <a:lnTo>
                    <a:pt x="123331" y="91005"/>
                  </a:lnTo>
                  <a:cubicBezTo>
                    <a:pt x="121753" y="88586"/>
                    <a:pt x="119859" y="86587"/>
                    <a:pt x="117860" y="84798"/>
                  </a:cubicBezTo>
                  <a:cubicBezTo>
                    <a:pt x="132694" y="77539"/>
                    <a:pt x="143005" y="62389"/>
                    <a:pt x="143005" y="44714"/>
                  </a:cubicBezTo>
                  <a:cubicBezTo>
                    <a:pt x="143005" y="19990"/>
                    <a:pt x="123015" y="0"/>
                    <a:pt x="98291" y="0"/>
                  </a:cubicBezTo>
                  <a:cubicBezTo>
                    <a:pt x="73567" y="0"/>
                    <a:pt x="53577" y="19990"/>
                    <a:pt x="53577" y="44714"/>
                  </a:cubicBezTo>
                  <a:cubicBezTo>
                    <a:pt x="53577" y="62599"/>
                    <a:pt x="64098" y="77854"/>
                    <a:pt x="79248" y="85009"/>
                  </a:cubicBezTo>
                  <a:cubicBezTo>
                    <a:pt x="77355" y="86692"/>
                    <a:pt x="75671" y="88691"/>
                    <a:pt x="74198" y="90900"/>
                  </a:cubicBezTo>
                  <a:lnTo>
                    <a:pt x="5287" y="192637"/>
                  </a:lnTo>
                  <a:cubicBezTo>
                    <a:pt x="-1762" y="202947"/>
                    <a:pt x="-1762" y="217466"/>
                    <a:pt x="5287" y="227776"/>
                  </a:cubicBezTo>
                  <a:lnTo>
                    <a:pt x="74198" y="329513"/>
                  </a:lnTo>
                  <a:cubicBezTo>
                    <a:pt x="80090" y="338245"/>
                    <a:pt x="89138" y="343295"/>
                    <a:pt x="98817" y="343295"/>
                  </a:cubicBezTo>
                  <a:cubicBezTo>
                    <a:pt x="108496" y="343295"/>
                    <a:pt x="117439" y="338245"/>
                    <a:pt x="123436" y="329513"/>
                  </a:cubicBezTo>
                  <a:lnTo>
                    <a:pt x="192347" y="227776"/>
                  </a:lnTo>
                  <a:cubicBezTo>
                    <a:pt x="199396" y="217466"/>
                    <a:pt x="199396" y="202947"/>
                    <a:pt x="192347" y="192637"/>
                  </a:cubicBezTo>
                  <a:close/>
                </a:path>
              </a:pathLst>
            </a:custGeom>
            <a:grpFill/>
            <a:ln w="10508" cap="flat">
              <a:noFill/>
              <a:prstDash val="solid"/>
              <a:miter/>
            </a:ln>
          </p:spPr>
          <p:txBody>
            <a:bodyPr rtlCol="0" anchor="ctr"/>
            <a:lstStyle/>
            <a:p>
              <a:endParaRPr lang="nl-NL"/>
            </a:p>
          </p:txBody>
        </p:sp>
      </p:grpSp>
      <p:grpSp>
        <p:nvGrpSpPr>
          <p:cNvPr id="23" name="Graphic 3">
            <a:extLst>
              <a:ext uri="{FF2B5EF4-FFF2-40B4-BE49-F238E27FC236}">
                <a16:creationId xmlns:a16="http://schemas.microsoft.com/office/drawing/2014/main" id="{120B95E2-D811-4EA0-B2C2-B1537A96EA67}"/>
              </a:ext>
            </a:extLst>
          </p:cNvPr>
          <p:cNvGrpSpPr>
            <a:grpSpLocks noChangeAspect="1"/>
          </p:cNvGrpSpPr>
          <p:nvPr/>
        </p:nvGrpSpPr>
        <p:grpSpPr>
          <a:xfrm>
            <a:off x="4695176" y="2154218"/>
            <a:ext cx="881675" cy="457290"/>
            <a:chOff x="4679312" y="1368864"/>
            <a:chExt cx="1730890" cy="897744"/>
          </a:xfrm>
          <a:solidFill>
            <a:schemeClr val="bg1"/>
          </a:solidFill>
        </p:grpSpPr>
        <p:sp>
          <p:nvSpPr>
            <p:cNvPr id="25" name="Freeform: Shape 24">
              <a:extLst>
                <a:ext uri="{FF2B5EF4-FFF2-40B4-BE49-F238E27FC236}">
                  <a16:creationId xmlns:a16="http://schemas.microsoft.com/office/drawing/2014/main" id="{AC81A278-C9D2-43F7-977B-68C3054E1A5A}"/>
                </a:ext>
              </a:extLst>
            </p:cNvPr>
            <p:cNvSpPr/>
            <p:nvPr/>
          </p:nvSpPr>
          <p:spPr>
            <a:xfrm>
              <a:off x="4679312" y="1383488"/>
              <a:ext cx="174435" cy="201789"/>
            </a:xfrm>
            <a:custGeom>
              <a:avLst/>
              <a:gdLst>
                <a:gd name="connsiteX0" fmla="*/ 157813 w 174435"/>
                <a:gd name="connsiteY0" fmla="*/ 201790 h 201789"/>
                <a:gd name="connsiteX1" fmla="*/ 130669 w 174435"/>
                <a:gd name="connsiteY1" fmla="*/ 182326 h 201789"/>
                <a:gd name="connsiteX2" fmla="*/ 125093 w 174435"/>
                <a:gd name="connsiteY2" fmla="*/ 150238 h 201789"/>
                <a:gd name="connsiteX3" fmla="*/ 44714 w 174435"/>
                <a:gd name="connsiteY3" fmla="*/ 150238 h 201789"/>
                <a:gd name="connsiteX4" fmla="*/ 34088 w 174435"/>
                <a:gd name="connsiteY4" fmla="*/ 201790 h 201789"/>
                <a:gd name="connsiteX5" fmla="*/ 18517 w 174435"/>
                <a:gd name="connsiteY5" fmla="*/ 201790 h 201789"/>
                <a:gd name="connsiteX6" fmla="*/ 0 w 174435"/>
                <a:gd name="connsiteY6" fmla="*/ 182326 h 201789"/>
                <a:gd name="connsiteX7" fmla="*/ 68596 w 174435"/>
                <a:gd name="connsiteY7" fmla="*/ 0 h 201789"/>
                <a:gd name="connsiteX8" fmla="*/ 85114 w 174435"/>
                <a:gd name="connsiteY8" fmla="*/ 0 h 201789"/>
                <a:gd name="connsiteX9" fmla="*/ 117834 w 174435"/>
                <a:gd name="connsiteY9" fmla="*/ 18517 h 201789"/>
                <a:gd name="connsiteX10" fmla="*/ 174436 w 174435"/>
                <a:gd name="connsiteY10" fmla="*/ 201790 h 201789"/>
                <a:gd name="connsiteX11" fmla="*/ 157918 w 174435"/>
                <a:gd name="connsiteY11" fmla="*/ 201790 h 201789"/>
                <a:gd name="connsiteX12" fmla="*/ 84798 w 174435"/>
                <a:gd name="connsiteY12" fmla="*/ 37139 h 201789"/>
                <a:gd name="connsiteX13" fmla="*/ 53551 w 174435"/>
                <a:gd name="connsiteY13" fmla="*/ 118149 h 201789"/>
                <a:gd name="connsiteX14" fmla="*/ 116045 w 174435"/>
                <a:gd name="connsiteY14" fmla="*/ 118149 h 201789"/>
                <a:gd name="connsiteX15" fmla="*/ 84798 w 174435"/>
                <a:gd name="connsiteY15" fmla="*/ 37139 h 20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435" h="201789">
                  <a:moveTo>
                    <a:pt x="157813" y="201790"/>
                  </a:moveTo>
                  <a:cubicBezTo>
                    <a:pt x="140980" y="201790"/>
                    <a:pt x="132142" y="192111"/>
                    <a:pt x="130669" y="182326"/>
                  </a:cubicBezTo>
                  <a:cubicBezTo>
                    <a:pt x="128880" y="169070"/>
                    <a:pt x="127092" y="158760"/>
                    <a:pt x="125093" y="150238"/>
                  </a:cubicBezTo>
                  <a:lnTo>
                    <a:pt x="44714" y="150238"/>
                  </a:lnTo>
                  <a:cubicBezTo>
                    <a:pt x="40611" y="167282"/>
                    <a:pt x="37033" y="184746"/>
                    <a:pt x="34088" y="201790"/>
                  </a:cubicBezTo>
                  <a:lnTo>
                    <a:pt x="18517" y="201790"/>
                  </a:lnTo>
                  <a:cubicBezTo>
                    <a:pt x="5260" y="201790"/>
                    <a:pt x="0" y="194741"/>
                    <a:pt x="0" y="182326"/>
                  </a:cubicBezTo>
                  <a:cubicBezTo>
                    <a:pt x="0" y="153184"/>
                    <a:pt x="37665" y="34403"/>
                    <a:pt x="68596" y="0"/>
                  </a:cubicBezTo>
                  <a:lnTo>
                    <a:pt x="85114" y="0"/>
                  </a:lnTo>
                  <a:cubicBezTo>
                    <a:pt x="101316" y="0"/>
                    <a:pt x="112257" y="8838"/>
                    <a:pt x="117834" y="18517"/>
                  </a:cubicBezTo>
                  <a:cubicBezTo>
                    <a:pt x="136140" y="51237"/>
                    <a:pt x="166440" y="138139"/>
                    <a:pt x="174436" y="201790"/>
                  </a:cubicBezTo>
                  <a:lnTo>
                    <a:pt x="157918" y="201790"/>
                  </a:lnTo>
                  <a:close/>
                  <a:moveTo>
                    <a:pt x="84798" y="37139"/>
                  </a:moveTo>
                  <a:cubicBezTo>
                    <a:pt x="73015" y="58075"/>
                    <a:pt x="60390" y="90164"/>
                    <a:pt x="53551" y="118149"/>
                  </a:cubicBezTo>
                  <a:lnTo>
                    <a:pt x="116045" y="118149"/>
                  </a:lnTo>
                  <a:cubicBezTo>
                    <a:pt x="109312" y="89848"/>
                    <a:pt x="95424" y="55971"/>
                    <a:pt x="84798" y="37139"/>
                  </a:cubicBezTo>
                  <a:close/>
                </a:path>
              </a:pathLst>
            </a:custGeom>
            <a:grpFill/>
            <a:ln w="10508" cap="flat">
              <a:noFill/>
              <a:prstDash val="solid"/>
              <a:miter/>
            </a:ln>
          </p:spPr>
          <p:txBody>
            <a:bodyPr rtlCol="0" anchor="ctr"/>
            <a:lstStyle/>
            <a:p>
              <a:endParaRPr lang="nl-NL"/>
            </a:p>
          </p:txBody>
        </p:sp>
        <p:sp>
          <p:nvSpPr>
            <p:cNvPr id="26" name="Freeform: Shape 25">
              <a:extLst>
                <a:ext uri="{FF2B5EF4-FFF2-40B4-BE49-F238E27FC236}">
                  <a16:creationId xmlns:a16="http://schemas.microsoft.com/office/drawing/2014/main" id="{8DD8A9CC-E6FE-4B16-9E99-2C0472C134B3}"/>
                </a:ext>
              </a:extLst>
            </p:cNvPr>
            <p:cNvSpPr/>
            <p:nvPr/>
          </p:nvSpPr>
          <p:spPr>
            <a:xfrm>
              <a:off x="4866373"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8" y="43556"/>
                    <a:pt x="107313" y="36192"/>
                    <a:pt x="84588" y="36192"/>
                  </a:cubicBezTo>
                  <a:cubicBezTo>
                    <a:pt x="61863" y="36192"/>
                    <a:pt x="41242" y="54708"/>
                    <a:pt x="41242" y="78275"/>
                  </a:cubicBezTo>
                  <a:cubicBezTo>
                    <a:pt x="41242" y="107102"/>
                    <a:pt x="58286"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grpFill/>
            <a:ln w="10508" cap="flat">
              <a:noFill/>
              <a:prstDash val="solid"/>
              <a:miter/>
            </a:ln>
          </p:spPr>
          <p:txBody>
            <a:bodyPr rtlCol="0" anchor="ctr"/>
            <a:lstStyle/>
            <a:p>
              <a:endParaRPr lang="nl-NL"/>
            </a:p>
          </p:txBody>
        </p:sp>
        <p:sp>
          <p:nvSpPr>
            <p:cNvPr id="27" name="Freeform: Shape 26">
              <a:extLst>
                <a:ext uri="{FF2B5EF4-FFF2-40B4-BE49-F238E27FC236}">
                  <a16:creationId xmlns:a16="http://schemas.microsoft.com/office/drawing/2014/main" id="{84CC2BB1-5303-41A1-AA95-46101DF5AC60}"/>
                </a:ext>
              </a:extLst>
            </p:cNvPr>
            <p:cNvSpPr/>
            <p:nvPr/>
          </p:nvSpPr>
          <p:spPr>
            <a:xfrm>
              <a:off x="5014928"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7" y="43556"/>
                    <a:pt x="107313" y="36192"/>
                    <a:pt x="84588" y="36192"/>
                  </a:cubicBezTo>
                  <a:cubicBezTo>
                    <a:pt x="61863" y="36192"/>
                    <a:pt x="41242" y="54708"/>
                    <a:pt x="41242" y="78275"/>
                  </a:cubicBezTo>
                  <a:cubicBezTo>
                    <a:pt x="41242" y="107102"/>
                    <a:pt x="58285"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grpFill/>
            <a:ln w="10508" cap="flat">
              <a:noFill/>
              <a:prstDash val="solid"/>
              <a:miter/>
            </a:ln>
          </p:spPr>
          <p:txBody>
            <a:bodyPr rtlCol="0" anchor="ctr"/>
            <a:lstStyle/>
            <a:p>
              <a:endParaRPr lang="nl-NL"/>
            </a:p>
          </p:txBody>
        </p:sp>
        <p:sp>
          <p:nvSpPr>
            <p:cNvPr id="28" name="Freeform: Shape 27">
              <a:extLst>
                <a:ext uri="{FF2B5EF4-FFF2-40B4-BE49-F238E27FC236}">
                  <a16:creationId xmlns:a16="http://schemas.microsoft.com/office/drawing/2014/main" id="{941FF036-54FE-4E9A-9C24-2CB70BD05025}"/>
                </a:ext>
              </a:extLst>
            </p:cNvPr>
            <p:cNvSpPr/>
            <p:nvPr/>
          </p:nvSpPr>
          <p:spPr>
            <a:xfrm>
              <a:off x="5164324"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sp>
          <p:nvSpPr>
            <p:cNvPr id="29" name="Freeform: Shape 28">
              <a:extLst>
                <a:ext uri="{FF2B5EF4-FFF2-40B4-BE49-F238E27FC236}">
                  <a16:creationId xmlns:a16="http://schemas.microsoft.com/office/drawing/2014/main" id="{9F72653C-6FEB-4204-9C7F-12FAA9B5FFFB}"/>
                </a:ext>
              </a:extLst>
            </p:cNvPr>
            <p:cNvSpPr/>
            <p:nvPr/>
          </p:nvSpPr>
          <p:spPr>
            <a:xfrm>
              <a:off x="5335393" y="1373177"/>
              <a:ext cx="76907" cy="213573"/>
            </a:xfrm>
            <a:custGeom>
              <a:avLst/>
              <a:gdLst>
                <a:gd name="connsiteX0" fmla="*/ 50395 w 76907"/>
                <a:gd name="connsiteY0" fmla="*/ 213573 h 213573"/>
                <a:gd name="connsiteX1" fmla="*/ 0 w 76907"/>
                <a:gd name="connsiteY1" fmla="*/ 164125 h 213573"/>
                <a:gd name="connsiteX2" fmla="*/ 0 w 76907"/>
                <a:gd name="connsiteY2" fmla="*/ 0 h 213573"/>
                <a:gd name="connsiteX3" fmla="*/ 11152 w 76907"/>
                <a:gd name="connsiteY3" fmla="*/ 0 h 213573"/>
                <a:gd name="connsiteX4" fmla="*/ 39453 w 76907"/>
                <a:gd name="connsiteY4" fmla="*/ 26513 h 213573"/>
                <a:gd name="connsiteX5" fmla="*/ 39453 w 76907"/>
                <a:gd name="connsiteY5" fmla="*/ 160233 h 213573"/>
                <a:gd name="connsiteX6" fmla="*/ 66281 w 76907"/>
                <a:gd name="connsiteY6" fmla="*/ 181169 h 213573"/>
                <a:gd name="connsiteX7" fmla="*/ 76907 w 76907"/>
                <a:gd name="connsiteY7" fmla="*/ 181169 h 213573"/>
                <a:gd name="connsiteX8" fmla="*/ 76907 w 76907"/>
                <a:gd name="connsiteY8" fmla="*/ 189691 h 213573"/>
                <a:gd name="connsiteX9" fmla="*/ 50395 w 76907"/>
                <a:gd name="connsiteY9" fmla="*/ 213573 h 21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07" h="213573">
                  <a:moveTo>
                    <a:pt x="50395" y="213573"/>
                  </a:moveTo>
                  <a:cubicBezTo>
                    <a:pt x="17675" y="213573"/>
                    <a:pt x="0" y="196214"/>
                    <a:pt x="0" y="164125"/>
                  </a:cubicBezTo>
                  <a:lnTo>
                    <a:pt x="0" y="0"/>
                  </a:lnTo>
                  <a:lnTo>
                    <a:pt x="11152" y="0"/>
                  </a:lnTo>
                  <a:cubicBezTo>
                    <a:pt x="30931" y="0"/>
                    <a:pt x="39453" y="11468"/>
                    <a:pt x="39453" y="26513"/>
                  </a:cubicBezTo>
                  <a:lnTo>
                    <a:pt x="39453" y="160233"/>
                  </a:lnTo>
                  <a:cubicBezTo>
                    <a:pt x="39453" y="176119"/>
                    <a:pt x="47659" y="181169"/>
                    <a:pt x="66281" y="181169"/>
                  </a:cubicBezTo>
                  <a:lnTo>
                    <a:pt x="76907" y="181169"/>
                  </a:lnTo>
                  <a:lnTo>
                    <a:pt x="76907" y="189691"/>
                  </a:lnTo>
                  <a:cubicBezTo>
                    <a:pt x="76907" y="206735"/>
                    <a:pt x="67754" y="213573"/>
                    <a:pt x="50395" y="213573"/>
                  </a:cubicBezTo>
                  <a:close/>
                </a:path>
              </a:pathLst>
            </a:custGeom>
            <a:grpFill/>
            <a:ln w="10508" cap="flat">
              <a:noFill/>
              <a:prstDash val="solid"/>
              <a:miter/>
            </a:ln>
          </p:spPr>
          <p:txBody>
            <a:bodyPr rtlCol="0" anchor="ctr"/>
            <a:lstStyle/>
            <a:p>
              <a:endParaRPr lang="nl-NL"/>
            </a:p>
          </p:txBody>
        </p:sp>
        <p:sp>
          <p:nvSpPr>
            <p:cNvPr id="30" name="Freeform: Shape 29">
              <a:extLst>
                <a:ext uri="{FF2B5EF4-FFF2-40B4-BE49-F238E27FC236}">
                  <a16:creationId xmlns:a16="http://schemas.microsoft.com/office/drawing/2014/main" id="{35E360A4-E783-4ED4-A532-09C78288DADD}"/>
                </a:ext>
              </a:extLst>
            </p:cNvPr>
            <p:cNvSpPr/>
            <p:nvPr/>
          </p:nvSpPr>
          <p:spPr>
            <a:xfrm>
              <a:off x="5422295"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2 w 141400"/>
                <a:gd name="connsiteY10" fmla="*/ 100159 h 166124"/>
                <a:gd name="connsiteX11" fmla="*/ 74172 w 141400"/>
                <a:gd name="connsiteY11" fmla="*/ 32930 h 166124"/>
                <a:gd name="connsiteX12" fmla="*/ 40926 w 141400"/>
                <a:gd name="connsiteY12" fmla="*/ 66807 h 166124"/>
                <a:gd name="connsiteX13" fmla="*/ 40610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0" y="129512"/>
                    <a:pt x="134036" y="117728"/>
                  </a:cubicBezTo>
                  <a:lnTo>
                    <a:pt x="135509" y="117728"/>
                  </a:lnTo>
                  <a:lnTo>
                    <a:pt x="135509" y="130143"/>
                  </a:lnTo>
                  <a:cubicBezTo>
                    <a:pt x="135509" y="150448"/>
                    <a:pt x="121621" y="166124"/>
                    <a:pt x="78065" y="166124"/>
                  </a:cubicBezTo>
                  <a:cubicBezTo>
                    <a:pt x="38611" y="166124"/>
                    <a:pt x="0" y="134877"/>
                    <a:pt x="0" y="86271"/>
                  </a:cubicBezTo>
                  <a:cubicBezTo>
                    <a:pt x="0" y="33246"/>
                    <a:pt x="32404" y="0"/>
                    <a:pt x="77749" y="0"/>
                  </a:cubicBezTo>
                  <a:cubicBezTo>
                    <a:pt x="110785" y="0"/>
                    <a:pt x="141400" y="23567"/>
                    <a:pt x="141400" y="61547"/>
                  </a:cubicBezTo>
                  <a:cubicBezTo>
                    <a:pt x="141400" y="90690"/>
                    <a:pt x="119306" y="100159"/>
                    <a:pt x="66912" y="100159"/>
                  </a:cubicBezTo>
                  <a:close/>
                  <a:moveTo>
                    <a:pt x="74172" y="32930"/>
                  </a:moveTo>
                  <a:cubicBezTo>
                    <a:pt x="55024" y="32930"/>
                    <a:pt x="41768" y="48501"/>
                    <a:pt x="40926" y="66807"/>
                  </a:cubicBezTo>
                  <a:lnTo>
                    <a:pt x="40610" y="72068"/>
                  </a:lnTo>
                  <a:lnTo>
                    <a:pt x="58285"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sp>
          <p:nvSpPr>
            <p:cNvPr id="33" name="Freeform: Shape 32">
              <a:extLst>
                <a:ext uri="{FF2B5EF4-FFF2-40B4-BE49-F238E27FC236}">
                  <a16:creationId xmlns:a16="http://schemas.microsoft.com/office/drawing/2014/main" id="{9FD56FC2-C29A-4183-A41F-AEFCDD6AEF6C}"/>
                </a:ext>
              </a:extLst>
            </p:cNvPr>
            <p:cNvSpPr/>
            <p:nvPr/>
          </p:nvSpPr>
          <p:spPr>
            <a:xfrm>
              <a:off x="5592312" y="1424729"/>
              <a:ext cx="91636" cy="160548"/>
            </a:xfrm>
            <a:custGeom>
              <a:avLst/>
              <a:gdLst>
                <a:gd name="connsiteX0" fmla="*/ 90058 w 91636"/>
                <a:gd name="connsiteY0" fmla="*/ 40084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4"/>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grpFill/>
            <a:ln w="10508" cap="flat">
              <a:noFill/>
              <a:prstDash val="solid"/>
              <a:miter/>
            </a:ln>
          </p:spPr>
          <p:txBody>
            <a:bodyPr rtlCol="0" anchor="ctr"/>
            <a:lstStyle/>
            <a:p>
              <a:endParaRPr lang="nl-NL"/>
            </a:p>
          </p:txBody>
        </p:sp>
        <p:sp>
          <p:nvSpPr>
            <p:cNvPr id="34" name="Freeform: Shape 33">
              <a:extLst>
                <a:ext uri="{FF2B5EF4-FFF2-40B4-BE49-F238E27FC236}">
                  <a16:creationId xmlns:a16="http://schemas.microsoft.com/office/drawing/2014/main" id="{5F4EFC76-6B84-439A-B1CB-DECAC2F8DDCB}"/>
                </a:ext>
              </a:extLst>
            </p:cNvPr>
            <p:cNvSpPr/>
            <p:nvPr/>
          </p:nvSpPr>
          <p:spPr>
            <a:xfrm>
              <a:off x="5698046" y="1423256"/>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4 w 131615"/>
                <a:gd name="connsiteY8" fmla="*/ 51552 h 164651"/>
                <a:gd name="connsiteX9" fmla="*/ 6734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60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4" y="51552"/>
                  </a:lnTo>
                  <a:lnTo>
                    <a:pt x="6734" y="38927"/>
                  </a:lnTo>
                  <a:cubicBezTo>
                    <a:pt x="6734"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60" y="132563"/>
                  </a:cubicBezTo>
                  <a:cubicBezTo>
                    <a:pt x="85219" y="132563"/>
                    <a:pt x="93215" y="124356"/>
                    <a:pt x="93215" y="108154"/>
                  </a:cubicBezTo>
                  <a:lnTo>
                    <a:pt x="93215" y="92794"/>
                  </a:lnTo>
                  <a:close/>
                </a:path>
              </a:pathLst>
            </a:custGeom>
            <a:grpFill/>
            <a:ln w="10508" cap="flat">
              <a:noFill/>
              <a:prstDash val="solid"/>
              <a:miter/>
            </a:ln>
          </p:spPr>
          <p:txBody>
            <a:bodyPr rtlCol="0" anchor="ctr"/>
            <a:lstStyle/>
            <a:p>
              <a:endParaRPr lang="nl-NL"/>
            </a:p>
          </p:txBody>
        </p:sp>
        <p:sp>
          <p:nvSpPr>
            <p:cNvPr id="35" name="Freeform: Shape 34">
              <a:extLst>
                <a:ext uri="{FF2B5EF4-FFF2-40B4-BE49-F238E27FC236}">
                  <a16:creationId xmlns:a16="http://schemas.microsoft.com/office/drawing/2014/main" id="{84FF3F92-07A2-4938-B52D-6586C06BADD1}"/>
                </a:ext>
              </a:extLst>
            </p:cNvPr>
            <p:cNvSpPr/>
            <p:nvPr/>
          </p:nvSpPr>
          <p:spPr>
            <a:xfrm>
              <a:off x="5861856" y="1390221"/>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6"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grpFill/>
            <a:ln w="10508" cap="flat">
              <a:noFill/>
              <a:prstDash val="solid"/>
              <a:miter/>
            </a:ln>
          </p:spPr>
          <p:txBody>
            <a:bodyPr rtlCol="0" anchor="ctr"/>
            <a:lstStyle/>
            <a:p>
              <a:endParaRPr lang="nl-NL"/>
            </a:p>
          </p:txBody>
        </p:sp>
        <p:sp>
          <p:nvSpPr>
            <p:cNvPr id="36" name="Freeform: Shape 35">
              <a:extLst>
                <a:ext uri="{FF2B5EF4-FFF2-40B4-BE49-F238E27FC236}">
                  <a16:creationId xmlns:a16="http://schemas.microsoft.com/office/drawing/2014/main" id="{5312CEFD-7E32-4A87-8CF7-70A80194922A}"/>
                </a:ext>
              </a:extLst>
            </p:cNvPr>
            <p:cNvSpPr/>
            <p:nvPr/>
          </p:nvSpPr>
          <p:spPr>
            <a:xfrm>
              <a:off x="5978112" y="1368864"/>
              <a:ext cx="74487" cy="217992"/>
            </a:xfrm>
            <a:custGeom>
              <a:avLst/>
              <a:gdLst>
                <a:gd name="connsiteX0" fmla="*/ 22935 w 74487"/>
                <a:gd name="connsiteY0" fmla="*/ 46187 h 217992"/>
                <a:gd name="connsiteX1" fmla="*/ 0 w 74487"/>
                <a:gd name="connsiteY1" fmla="*/ 22935 h 217992"/>
                <a:gd name="connsiteX2" fmla="*/ 22935 w 74487"/>
                <a:gd name="connsiteY2" fmla="*/ 0 h 217992"/>
                <a:gd name="connsiteX3" fmla="*/ 46187 w 74487"/>
                <a:gd name="connsiteY3" fmla="*/ 22935 h 217992"/>
                <a:gd name="connsiteX4" fmla="*/ 22935 w 74487"/>
                <a:gd name="connsiteY4" fmla="*/ 46187 h 217992"/>
                <a:gd name="connsiteX5" fmla="*/ 50921 w 74487"/>
                <a:gd name="connsiteY5" fmla="*/ 217887 h 217992"/>
                <a:gd name="connsiteX6" fmla="*/ 3472 w 74487"/>
                <a:gd name="connsiteY6" fmla="*/ 168439 h 217992"/>
                <a:gd name="connsiteX7" fmla="*/ 3472 w 74487"/>
                <a:gd name="connsiteY7" fmla="*/ 60916 h 217992"/>
                <a:gd name="connsiteX8" fmla="*/ 14624 w 74487"/>
                <a:gd name="connsiteY8" fmla="*/ 60916 h 217992"/>
                <a:gd name="connsiteX9" fmla="*/ 42925 w 74487"/>
                <a:gd name="connsiteY9" fmla="*/ 90374 h 217992"/>
                <a:gd name="connsiteX10" fmla="*/ 42925 w 74487"/>
                <a:gd name="connsiteY10" fmla="*/ 164651 h 217992"/>
                <a:gd name="connsiteX11" fmla="*/ 67123 w 74487"/>
                <a:gd name="connsiteY11" fmla="*/ 185588 h 217992"/>
                <a:gd name="connsiteX12" fmla="*/ 74488 w 74487"/>
                <a:gd name="connsiteY12" fmla="*/ 185588 h 217992"/>
                <a:gd name="connsiteX13" fmla="*/ 74488 w 74487"/>
                <a:gd name="connsiteY13" fmla="*/ 194110 h 217992"/>
                <a:gd name="connsiteX14" fmla="*/ 50921 w 74487"/>
                <a:gd name="connsiteY14" fmla="*/ 217992 h 21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487" h="217992">
                  <a:moveTo>
                    <a:pt x="22935" y="46187"/>
                  </a:moveTo>
                  <a:cubicBezTo>
                    <a:pt x="10311" y="46187"/>
                    <a:pt x="0" y="35561"/>
                    <a:pt x="0" y="22935"/>
                  </a:cubicBezTo>
                  <a:cubicBezTo>
                    <a:pt x="0" y="10310"/>
                    <a:pt x="10311" y="0"/>
                    <a:pt x="22935" y="0"/>
                  </a:cubicBezTo>
                  <a:cubicBezTo>
                    <a:pt x="35561" y="0"/>
                    <a:pt x="46187" y="10310"/>
                    <a:pt x="46187" y="22935"/>
                  </a:cubicBezTo>
                  <a:cubicBezTo>
                    <a:pt x="46187" y="35561"/>
                    <a:pt x="35561" y="46187"/>
                    <a:pt x="22935" y="46187"/>
                  </a:cubicBezTo>
                  <a:close/>
                  <a:moveTo>
                    <a:pt x="50921" y="217887"/>
                  </a:moveTo>
                  <a:cubicBezTo>
                    <a:pt x="20305" y="217887"/>
                    <a:pt x="3472" y="200527"/>
                    <a:pt x="3472" y="168439"/>
                  </a:cubicBezTo>
                  <a:lnTo>
                    <a:pt x="3472" y="60916"/>
                  </a:lnTo>
                  <a:lnTo>
                    <a:pt x="14624" y="60916"/>
                  </a:lnTo>
                  <a:cubicBezTo>
                    <a:pt x="32299" y="60916"/>
                    <a:pt x="42925" y="70385"/>
                    <a:pt x="42925" y="90374"/>
                  </a:cubicBezTo>
                  <a:lnTo>
                    <a:pt x="42925" y="164651"/>
                  </a:lnTo>
                  <a:cubicBezTo>
                    <a:pt x="42925" y="180538"/>
                    <a:pt x="49658" y="185588"/>
                    <a:pt x="67123" y="185588"/>
                  </a:cubicBezTo>
                  <a:lnTo>
                    <a:pt x="74488" y="185588"/>
                  </a:lnTo>
                  <a:lnTo>
                    <a:pt x="74488" y="194110"/>
                  </a:lnTo>
                  <a:cubicBezTo>
                    <a:pt x="74488" y="211154"/>
                    <a:pt x="67754" y="217992"/>
                    <a:pt x="50921" y="217992"/>
                  </a:cubicBezTo>
                  <a:close/>
                </a:path>
              </a:pathLst>
            </a:custGeom>
            <a:grpFill/>
            <a:ln w="10508" cap="flat">
              <a:noFill/>
              <a:prstDash val="solid"/>
              <a:miter/>
            </a:ln>
          </p:spPr>
          <p:txBody>
            <a:bodyPr rtlCol="0" anchor="ctr"/>
            <a:lstStyle/>
            <a:p>
              <a:endParaRPr lang="nl-NL"/>
            </a:p>
          </p:txBody>
        </p:sp>
        <p:sp>
          <p:nvSpPr>
            <p:cNvPr id="37" name="Freeform: Shape 36">
              <a:extLst>
                <a:ext uri="{FF2B5EF4-FFF2-40B4-BE49-F238E27FC236}">
                  <a16:creationId xmlns:a16="http://schemas.microsoft.com/office/drawing/2014/main" id="{55B7504C-182E-4B61-AB21-1E120B783D8F}"/>
                </a:ext>
              </a:extLst>
            </p:cNvPr>
            <p:cNvSpPr/>
            <p:nvPr/>
          </p:nvSpPr>
          <p:spPr>
            <a:xfrm>
              <a:off x="6073957" y="1422836"/>
              <a:ext cx="139927" cy="162547"/>
            </a:xfrm>
            <a:custGeom>
              <a:avLst/>
              <a:gdLst>
                <a:gd name="connsiteX0" fmla="*/ 129196 w 139927"/>
                <a:gd name="connsiteY0" fmla="*/ 162442 h 162547"/>
                <a:gd name="connsiteX1" fmla="*/ 100369 w 139927"/>
                <a:gd name="connsiteY1" fmla="*/ 136561 h 162547"/>
                <a:gd name="connsiteX2" fmla="*/ 100369 w 139927"/>
                <a:gd name="connsiteY2" fmla="*/ 73541 h 162547"/>
                <a:gd name="connsiteX3" fmla="*/ 68280 w 139927"/>
                <a:gd name="connsiteY3" fmla="*/ 34929 h 162547"/>
                <a:gd name="connsiteX4" fmla="*/ 39453 w 139927"/>
                <a:gd name="connsiteY4" fmla="*/ 70595 h 162547"/>
                <a:gd name="connsiteX5" fmla="*/ 39453 w 139927"/>
                <a:gd name="connsiteY5" fmla="*/ 162547 h 162547"/>
                <a:gd name="connsiteX6" fmla="*/ 27670 w 139927"/>
                <a:gd name="connsiteY6" fmla="*/ 162547 h 162547"/>
                <a:gd name="connsiteX7" fmla="*/ 0 w 139927"/>
                <a:gd name="connsiteY7" fmla="*/ 136666 h 162547"/>
                <a:gd name="connsiteX8" fmla="*/ 0 w 139927"/>
                <a:gd name="connsiteY8" fmla="*/ 68070 h 162547"/>
                <a:gd name="connsiteX9" fmla="*/ 71542 w 139927"/>
                <a:gd name="connsiteY9" fmla="*/ 0 h 162547"/>
                <a:gd name="connsiteX10" fmla="*/ 139927 w 139927"/>
                <a:gd name="connsiteY10" fmla="*/ 70069 h 162547"/>
                <a:gd name="connsiteX11" fmla="*/ 139927 w 139927"/>
                <a:gd name="connsiteY11" fmla="*/ 162547 h 162547"/>
                <a:gd name="connsiteX12" fmla="*/ 129301 w 139927"/>
                <a:gd name="connsiteY12" fmla="*/ 162547 h 16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927" h="162547">
                  <a:moveTo>
                    <a:pt x="129196" y="162442"/>
                  </a:moveTo>
                  <a:cubicBezTo>
                    <a:pt x="111521" y="162442"/>
                    <a:pt x="100369" y="151290"/>
                    <a:pt x="100369" y="136561"/>
                  </a:cubicBezTo>
                  <a:lnTo>
                    <a:pt x="100369" y="73541"/>
                  </a:lnTo>
                  <a:cubicBezTo>
                    <a:pt x="100369" y="46713"/>
                    <a:pt x="88585" y="34929"/>
                    <a:pt x="68280" y="34929"/>
                  </a:cubicBezTo>
                  <a:cubicBezTo>
                    <a:pt x="51237" y="34929"/>
                    <a:pt x="39453" y="47870"/>
                    <a:pt x="39453" y="70595"/>
                  </a:cubicBezTo>
                  <a:lnTo>
                    <a:pt x="39453" y="162547"/>
                  </a:lnTo>
                  <a:lnTo>
                    <a:pt x="27670" y="162547"/>
                  </a:lnTo>
                  <a:cubicBezTo>
                    <a:pt x="10836" y="162547"/>
                    <a:pt x="0" y="151395"/>
                    <a:pt x="0" y="136666"/>
                  </a:cubicBezTo>
                  <a:lnTo>
                    <a:pt x="0" y="68070"/>
                  </a:lnTo>
                  <a:cubicBezTo>
                    <a:pt x="0" y="34508"/>
                    <a:pt x="22094" y="0"/>
                    <a:pt x="71542" y="0"/>
                  </a:cubicBezTo>
                  <a:cubicBezTo>
                    <a:pt x="108996" y="0"/>
                    <a:pt x="139927" y="25040"/>
                    <a:pt x="139927" y="70069"/>
                  </a:cubicBezTo>
                  <a:lnTo>
                    <a:pt x="139927" y="162547"/>
                  </a:lnTo>
                  <a:lnTo>
                    <a:pt x="129301" y="162547"/>
                  </a:lnTo>
                  <a:close/>
                </a:path>
              </a:pathLst>
            </a:custGeom>
            <a:grpFill/>
            <a:ln w="10508" cap="flat">
              <a:noFill/>
              <a:prstDash val="solid"/>
              <a:miter/>
            </a:ln>
          </p:spPr>
          <p:txBody>
            <a:bodyPr rtlCol="0" anchor="ctr"/>
            <a:lstStyle/>
            <a:p>
              <a:endParaRPr lang="nl-NL"/>
            </a:p>
          </p:txBody>
        </p:sp>
        <p:sp>
          <p:nvSpPr>
            <p:cNvPr id="38" name="Freeform: Shape 37">
              <a:extLst>
                <a:ext uri="{FF2B5EF4-FFF2-40B4-BE49-F238E27FC236}">
                  <a16:creationId xmlns:a16="http://schemas.microsoft.com/office/drawing/2014/main" id="{9EAF9075-74FB-4856-AF3C-45439217D847}"/>
                </a:ext>
              </a:extLst>
            </p:cNvPr>
            <p:cNvSpPr/>
            <p:nvPr/>
          </p:nvSpPr>
          <p:spPr>
            <a:xfrm>
              <a:off x="6241975" y="1422730"/>
              <a:ext cx="146660" cy="213783"/>
            </a:xfrm>
            <a:custGeom>
              <a:avLst/>
              <a:gdLst>
                <a:gd name="connsiteX0" fmla="*/ 146029 w 146660"/>
                <a:gd name="connsiteY0" fmla="*/ 118044 h 213783"/>
                <a:gd name="connsiteX1" fmla="*/ 146661 w 146660"/>
                <a:gd name="connsiteY1" fmla="*/ 138349 h 213783"/>
                <a:gd name="connsiteX2" fmla="*/ 68911 w 146660"/>
                <a:gd name="connsiteY2" fmla="*/ 213784 h 213783"/>
                <a:gd name="connsiteX3" fmla="*/ 13782 w 146660"/>
                <a:gd name="connsiteY3" fmla="*/ 179065 h 213783"/>
                <a:gd name="connsiteX4" fmla="*/ 13782 w 146660"/>
                <a:gd name="connsiteY4" fmla="*/ 161074 h 213783"/>
                <a:gd name="connsiteX5" fmla="*/ 15571 w 146660"/>
                <a:gd name="connsiteY5" fmla="*/ 161074 h 213783"/>
                <a:gd name="connsiteX6" fmla="*/ 65966 w 146660"/>
                <a:gd name="connsiteY6" fmla="*/ 178118 h 213783"/>
                <a:gd name="connsiteX7" fmla="*/ 107523 w 146660"/>
                <a:gd name="connsiteY7" fmla="*/ 141611 h 213783"/>
                <a:gd name="connsiteX8" fmla="*/ 106892 w 146660"/>
                <a:gd name="connsiteY8" fmla="*/ 125409 h 213783"/>
                <a:gd name="connsiteX9" fmla="*/ 106892 w 146660"/>
                <a:gd name="connsiteY9" fmla="*/ 121621 h 213783"/>
                <a:gd name="connsiteX10" fmla="*/ 65966 w 146660"/>
                <a:gd name="connsiteY10" fmla="*/ 145188 h 213783"/>
                <a:gd name="connsiteX11" fmla="*/ 0 w 146660"/>
                <a:gd name="connsiteY11" fmla="*/ 81011 h 213783"/>
                <a:gd name="connsiteX12" fmla="*/ 80695 w 146660"/>
                <a:gd name="connsiteY12" fmla="*/ 0 h 213783"/>
                <a:gd name="connsiteX13" fmla="*/ 145503 w 146660"/>
                <a:gd name="connsiteY13" fmla="*/ 69543 h 213783"/>
                <a:gd name="connsiteX14" fmla="*/ 145503 w 146660"/>
                <a:gd name="connsiteY14" fmla="*/ 96687 h 213783"/>
                <a:gd name="connsiteX15" fmla="*/ 146135 w 146660"/>
                <a:gd name="connsiteY15" fmla="*/ 118149 h 213783"/>
                <a:gd name="connsiteX16" fmla="*/ 40610 w 146660"/>
                <a:gd name="connsiteY16" fmla="*/ 75961 h 213783"/>
                <a:gd name="connsiteX17" fmla="*/ 72173 w 146660"/>
                <a:gd name="connsiteY17" fmla="*/ 111942 h 213783"/>
                <a:gd name="connsiteX18" fmla="*/ 106050 w 146660"/>
                <a:gd name="connsiteY18" fmla="*/ 71857 h 213783"/>
                <a:gd name="connsiteX19" fmla="*/ 76276 w 146660"/>
                <a:gd name="connsiteY19" fmla="*/ 35034 h 213783"/>
                <a:gd name="connsiteX20" fmla="*/ 40610 w 146660"/>
                <a:gd name="connsiteY20" fmla="*/ 75961 h 21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660" h="213783">
                  <a:moveTo>
                    <a:pt x="146029" y="118044"/>
                  </a:moveTo>
                  <a:cubicBezTo>
                    <a:pt x="146345" y="124567"/>
                    <a:pt x="146661" y="133089"/>
                    <a:pt x="146661" y="138349"/>
                  </a:cubicBezTo>
                  <a:cubicBezTo>
                    <a:pt x="146661" y="178118"/>
                    <a:pt x="120148" y="213784"/>
                    <a:pt x="68911" y="213784"/>
                  </a:cubicBezTo>
                  <a:cubicBezTo>
                    <a:pt x="36192" y="213784"/>
                    <a:pt x="13782" y="197897"/>
                    <a:pt x="13782" y="179065"/>
                  </a:cubicBezTo>
                  <a:lnTo>
                    <a:pt x="13782" y="161074"/>
                  </a:lnTo>
                  <a:lnTo>
                    <a:pt x="15571" y="161074"/>
                  </a:lnTo>
                  <a:cubicBezTo>
                    <a:pt x="25039" y="171069"/>
                    <a:pt x="43241" y="178118"/>
                    <a:pt x="65966" y="178118"/>
                  </a:cubicBezTo>
                  <a:cubicBezTo>
                    <a:pt x="94582" y="178118"/>
                    <a:pt x="108365" y="164546"/>
                    <a:pt x="107523" y="141611"/>
                  </a:cubicBezTo>
                  <a:lnTo>
                    <a:pt x="106892" y="125409"/>
                  </a:lnTo>
                  <a:lnTo>
                    <a:pt x="106892" y="121621"/>
                  </a:lnTo>
                  <a:cubicBezTo>
                    <a:pt x="103630" y="133089"/>
                    <a:pt x="88585" y="145188"/>
                    <a:pt x="65966" y="145188"/>
                  </a:cubicBezTo>
                  <a:cubicBezTo>
                    <a:pt x="27354" y="145188"/>
                    <a:pt x="0" y="118360"/>
                    <a:pt x="0" y="81011"/>
                  </a:cubicBezTo>
                  <a:cubicBezTo>
                    <a:pt x="0" y="36192"/>
                    <a:pt x="29458" y="0"/>
                    <a:pt x="80695" y="0"/>
                  </a:cubicBezTo>
                  <a:cubicBezTo>
                    <a:pt x="120148" y="0"/>
                    <a:pt x="145503" y="28827"/>
                    <a:pt x="145503" y="69543"/>
                  </a:cubicBezTo>
                  <a:lnTo>
                    <a:pt x="145503" y="96687"/>
                  </a:lnTo>
                  <a:cubicBezTo>
                    <a:pt x="145503" y="101947"/>
                    <a:pt x="145819" y="111100"/>
                    <a:pt x="146135" y="118149"/>
                  </a:cubicBezTo>
                  <a:close/>
                  <a:moveTo>
                    <a:pt x="40610" y="75961"/>
                  </a:moveTo>
                  <a:cubicBezTo>
                    <a:pt x="40610" y="96581"/>
                    <a:pt x="53235" y="111942"/>
                    <a:pt x="72173" y="111942"/>
                  </a:cubicBezTo>
                  <a:cubicBezTo>
                    <a:pt x="91111" y="111942"/>
                    <a:pt x="106050" y="97213"/>
                    <a:pt x="106050" y="71857"/>
                  </a:cubicBezTo>
                  <a:cubicBezTo>
                    <a:pt x="106050" y="46502"/>
                    <a:pt x="93636" y="35034"/>
                    <a:pt x="76276" y="35034"/>
                  </a:cubicBezTo>
                  <a:cubicBezTo>
                    <a:pt x="55971" y="35034"/>
                    <a:pt x="40610" y="52078"/>
                    <a:pt x="40610" y="75961"/>
                  </a:cubicBezTo>
                  <a:close/>
                </a:path>
              </a:pathLst>
            </a:custGeom>
            <a:grpFill/>
            <a:ln w="10508" cap="flat">
              <a:noFill/>
              <a:prstDash val="solid"/>
              <a:miter/>
            </a:ln>
          </p:spPr>
          <p:txBody>
            <a:bodyPr rtlCol="0" anchor="ctr"/>
            <a:lstStyle/>
            <a:p>
              <a:endParaRPr lang="nl-NL"/>
            </a:p>
          </p:txBody>
        </p:sp>
        <p:sp>
          <p:nvSpPr>
            <p:cNvPr id="39" name="Freeform: Shape 38">
              <a:extLst>
                <a:ext uri="{FF2B5EF4-FFF2-40B4-BE49-F238E27FC236}">
                  <a16:creationId xmlns:a16="http://schemas.microsoft.com/office/drawing/2014/main" id="{9D96AF6F-B074-44BA-887D-2C3F0E2C33AF}"/>
                </a:ext>
              </a:extLst>
            </p:cNvPr>
            <p:cNvSpPr/>
            <p:nvPr/>
          </p:nvSpPr>
          <p:spPr>
            <a:xfrm>
              <a:off x="469404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3" y="196845"/>
                    <a:pt x="0" y="175067"/>
                    <a:pt x="0" y="137928"/>
                  </a:cubicBezTo>
                  <a:lnTo>
                    <a:pt x="0" y="42504"/>
                  </a:lnTo>
                  <a:cubicBezTo>
                    <a:pt x="0" y="26933"/>
                    <a:pt x="2946" y="21042"/>
                    <a:pt x="11468" y="10942"/>
                  </a:cubicBezTo>
                  <a:close/>
                </a:path>
              </a:pathLst>
            </a:custGeom>
            <a:grpFill/>
            <a:ln w="10508" cap="flat">
              <a:noFill/>
              <a:prstDash val="solid"/>
              <a:miter/>
            </a:ln>
          </p:spPr>
          <p:txBody>
            <a:bodyPr rtlCol="0" anchor="ctr"/>
            <a:lstStyle/>
            <a:p>
              <a:endParaRPr lang="nl-NL"/>
            </a:p>
          </p:txBody>
        </p:sp>
        <p:sp>
          <p:nvSpPr>
            <p:cNvPr id="40" name="Freeform: Shape 39">
              <a:extLst>
                <a:ext uri="{FF2B5EF4-FFF2-40B4-BE49-F238E27FC236}">
                  <a16:creationId xmlns:a16="http://schemas.microsoft.com/office/drawing/2014/main" id="{49B5D943-DE4D-4D64-9258-5D6EEA6862E7}"/>
                </a:ext>
              </a:extLst>
            </p:cNvPr>
            <p:cNvSpPr/>
            <p:nvPr/>
          </p:nvSpPr>
          <p:spPr>
            <a:xfrm>
              <a:off x="4813979" y="1688908"/>
              <a:ext cx="140032" cy="212100"/>
            </a:xfrm>
            <a:custGeom>
              <a:avLst/>
              <a:gdLst>
                <a:gd name="connsiteX0" fmla="*/ 127092 w 140032"/>
                <a:gd name="connsiteY0" fmla="*/ 211995 h 212100"/>
                <a:gd name="connsiteX1" fmla="*/ 100264 w 140032"/>
                <a:gd name="connsiteY1" fmla="*/ 185483 h 212100"/>
                <a:gd name="connsiteX2" fmla="*/ 100264 w 140032"/>
                <a:gd name="connsiteY2" fmla="*/ 120674 h 212100"/>
                <a:gd name="connsiteX3" fmla="*/ 68701 w 140032"/>
                <a:gd name="connsiteY3" fmla="*/ 84482 h 212100"/>
                <a:gd name="connsiteX4" fmla="*/ 40084 w 140032"/>
                <a:gd name="connsiteY4" fmla="*/ 121937 h 212100"/>
                <a:gd name="connsiteX5" fmla="*/ 40084 w 140032"/>
                <a:gd name="connsiteY5" fmla="*/ 212100 h 212100"/>
                <a:gd name="connsiteX6" fmla="*/ 27144 w 140032"/>
                <a:gd name="connsiteY6" fmla="*/ 212100 h 212100"/>
                <a:gd name="connsiteX7" fmla="*/ 0 w 140032"/>
                <a:gd name="connsiteY7" fmla="*/ 185588 h 212100"/>
                <a:gd name="connsiteX8" fmla="*/ 0 w 140032"/>
                <a:gd name="connsiteY8" fmla="*/ 0 h 212100"/>
                <a:gd name="connsiteX9" fmla="*/ 12415 w 140032"/>
                <a:gd name="connsiteY9" fmla="*/ 0 h 212100"/>
                <a:gd name="connsiteX10" fmla="*/ 40400 w 140032"/>
                <a:gd name="connsiteY10" fmla="*/ 25355 h 212100"/>
                <a:gd name="connsiteX11" fmla="*/ 40400 w 140032"/>
                <a:gd name="connsiteY11" fmla="*/ 70700 h 212100"/>
                <a:gd name="connsiteX12" fmla="*/ 74908 w 140032"/>
                <a:gd name="connsiteY12" fmla="*/ 49448 h 212100"/>
                <a:gd name="connsiteX13" fmla="*/ 140033 w 140032"/>
                <a:gd name="connsiteY13" fmla="*/ 118991 h 212100"/>
                <a:gd name="connsiteX14" fmla="*/ 140033 w 140032"/>
                <a:gd name="connsiteY14" fmla="*/ 212100 h 212100"/>
                <a:gd name="connsiteX15" fmla="*/ 127092 w 140032"/>
                <a:gd name="connsiteY15" fmla="*/ 212100 h 21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032" h="212100">
                  <a:moveTo>
                    <a:pt x="127092" y="211995"/>
                  </a:moveTo>
                  <a:cubicBezTo>
                    <a:pt x="110574" y="211995"/>
                    <a:pt x="100264" y="202526"/>
                    <a:pt x="100264" y="185483"/>
                  </a:cubicBezTo>
                  <a:lnTo>
                    <a:pt x="100264" y="120674"/>
                  </a:lnTo>
                  <a:cubicBezTo>
                    <a:pt x="100264" y="94793"/>
                    <a:pt x="86166" y="84482"/>
                    <a:pt x="68701" y="84482"/>
                  </a:cubicBezTo>
                  <a:cubicBezTo>
                    <a:pt x="56287" y="84482"/>
                    <a:pt x="40084" y="93951"/>
                    <a:pt x="40084" y="121937"/>
                  </a:cubicBezTo>
                  <a:lnTo>
                    <a:pt x="40084" y="212100"/>
                  </a:lnTo>
                  <a:lnTo>
                    <a:pt x="27144" y="212100"/>
                  </a:lnTo>
                  <a:cubicBezTo>
                    <a:pt x="8627" y="212100"/>
                    <a:pt x="0" y="201790"/>
                    <a:pt x="0" y="185588"/>
                  </a:cubicBezTo>
                  <a:lnTo>
                    <a:pt x="0" y="0"/>
                  </a:lnTo>
                  <a:lnTo>
                    <a:pt x="12415" y="0"/>
                  </a:lnTo>
                  <a:cubicBezTo>
                    <a:pt x="31247" y="0"/>
                    <a:pt x="40400" y="10626"/>
                    <a:pt x="40400" y="25355"/>
                  </a:cubicBezTo>
                  <a:lnTo>
                    <a:pt x="40400" y="70700"/>
                  </a:lnTo>
                  <a:cubicBezTo>
                    <a:pt x="46292" y="61231"/>
                    <a:pt x="59864" y="49448"/>
                    <a:pt x="74908" y="49448"/>
                  </a:cubicBezTo>
                  <a:cubicBezTo>
                    <a:pt x="115835" y="49448"/>
                    <a:pt x="140033" y="73856"/>
                    <a:pt x="140033" y="118991"/>
                  </a:cubicBezTo>
                  <a:lnTo>
                    <a:pt x="140033" y="212100"/>
                  </a:lnTo>
                  <a:lnTo>
                    <a:pt x="127092" y="212100"/>
                  </a:lnTo>
                  <a:close/>
                </a:path>
              </a:pathLst>
            </a:custGeom>
            <a:grpFill/>
            <a:ln w="10508" cap="flat">
              <a:noFill/>
              <a:prstDash val="solid"/>
              <a:miter/>
            </a:ln>
          </p:spPr>
          <p:txBody>
            <a:bodyPr rtlCol="0" anchor="ctr"/>
            <a:lstStyle/>
            <a:p>
              <a:endParaRPr lang="nl-NL" dirty="0"/>
            </a:p>
          </p:txBody>
        </p:sp>
        <p:sp>
          <p:nvSpPr>
            <p:cNvPr id="41" name="Freeform: Shape 40">
              <a:extLst>
                <a:ext uri="{FF2B5EF4-FFF2-40B4-BE49-F238E27FC236}">
                  <a16:creationId xmlns:a16="http://schemas.microsoft.com/office/drawing/2014/main" id="{C1B7A312-93AA-4CA4-B525-129E2014A178}"/>
                </a:ext>
              </a:extLst>
            </p:cNvPr>
            <p:cNvSpPr/>
            <p:nvPr/>
          </p:nvSpPr>
          <p:spPr>
            <a:xfrm>
              <a:off x="4982839" y="1738356"/>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sp>
          <p:nvSpPr>
            <p:cNvPr id="42" name="Freeform: Shape 41">
              <a:extLst>
                <a:ext uri="{FF2B5EF4-FFF2-40B4-BE49-F238E27FC236}">
                  <a16:creationId xmlns:a16="http://schemas.microsoft.com/office/drawing/2014/main" id="{04A079BF-E5D5-45E2-8F00-BC2F2A43BEBB}"/>
                </a:ext>
              </a:extLst>
            </p:cNvPr>
            <p:cNvSpPr/>
            <p:nvPr/>
          </p:nvSpPr>
          <p:spPr>
            <a:xfrm>
              <a:off x="5219979" y="1685857"/>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grpFill/>
            <a:ln w="10508" cap="flat">
              <a:noFill/>
              <a:prstDash val="solid"/>
              <a:miter/>
            </a:ln>
          </p:spPr>
          <p:txBody>
            <a:bodyPr rtlCol="0" anchor="ctr"/>
            <a:lstStyle/>
            <a:p>
              <a:endParaRPr lang="nl-NL"/>
            </a:p>
          </p:txBody>
        </p:sp>
        <p:sp>
          <p:nvSpPr>
            <p:cNvPr id="43" name="Freeform: Shape 42">
              <a:extLst>
                <a:ext uri="{FF2B5EF4-FFF2-40B4-BE49-F238E27FC236}">
                  <a16:creationId xmlns:a16="http://schemas.microsoft.com/office/drawing/2014/main" id="{1C607AE8-63DD-4664-938E-1BC1E138CEFA}"/>
                </a:ext>
              </a:extLst>
            </p:cNvPr>
            <p:cNvSpPr/>
            <p:nvPr/>
          </p:nvSpPr>
          <p:spPr>
            <a:xfrm>
              <a:off x="5326976"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5 w 139611"/>
                <a:gd name="connsiteY3" fmla="*/ 0 h 162652"/>
                <a:gd name="connsiteX4" fmla="*/ 40085 w 139611"/>
                <a:gd name="connsiteY4" fmla="*/ 28301 h 162652"/>
                <a:gd name="connsiteX5" fmla="*/ 40085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5" y="0"/>
                  </a:lnTo>
                  <a:cubicBezTo>
                    <a:pt x="30090" y="0"/>
                    <a:pt x="40085" y="9679"/>
                    <a:pt x="40085" y="28301"/>
                  </a:cubicBezTo>
                  <a:lnTo>
                    <a:pt x="40085" y="86587"/>
                  </a:lnTo>
                  <a:cubicBezTo>
                    <a:pt x="40085"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grpFill/>
            <a:ln w="10508" cap="flat">
              <a:noFill/>
              <a:prstDash val="solid"/>
              <a:miter/>
            </a:ln>
          </p:spPr>
          <p:txBody>
            <a:bodyPr rtlCol="0" anchor="ctr"/>
            <a:lstStyle/>
            <a:p>
              <a:endParaRPr lang="nl-NL"/>
            </a:p>
          </p:txBody>
        </p:sp>
        <p:sp>
          <p:nvSpPr>
            <p:cNvPr id="44" name="Freeform: Shape 43">
              <a:extLst>
                <a:ext uri="{FF2B5EF4-FFF2-40B4-BE49-F238E27FC236}">
                  <a16:creationId xmlns:a16="http://schemas.microsoft.com/office/drawing/2014/main" id="{0F9D4CA1-F695-4036-9E95-47E15C1013F4}"/>
                </a:ext>
              </a:extLst>
            </p:cNvPr>
            <p:cNvSpPr/>
            <p:nvPr/>
          </p:nvSpPr>
          <p:spPr>
            <a:xfrm>
              <a:off x="550341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grpFill/>
            <a:ln w="10508" cap="flat">
              <a:noFill/>
              <a:prstDash val="solid"/>
              <a:miter/>
            </a:ln>
          </p:spPr>
          <p:txBody>
            <a:bodyPr rtlCol="0" anchor="ctr"/>
            <a:lstStyle/>
            <a:p>
              <a:endParaRPr lang="nl-NL"/>
            </a:p>
          </p:txBody>
        </p:sp>
        <p:sp>
          <p:nvSpPr>
            <p:cNvPr id="45" name="Freeform: Shape 44">
              <a:extLst>
                <a:ext uri="{FF2B5EF4-FFF2-40B4-BE49-F238E27FC236}">
                  <a16:creationId xmlns:a16="http://schemas.microsoft.com/office/drawing/2014/main" id="{CF23CA46-E466-4AE3-8FBF-FB91E79D39D3}"/>
                </a:ext>
              </a:extLst>
            </p:cNvPr>
            <p:cNvSpPr/>
            <p:nvPr/>
          </p:nvSpPr>
          <p:spPr>
            <a:xfrm>
              <a:off x="5620298"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4 w 139611"/>
                <a:gd name="connsiteY3" fmla="*/ 0 h 162652"/>
                <a:gd name="connsiteX4" fmla="*/ 40084 w 139611"/>
                <a:gd name="connsiteY4" fmla="*/ 28301 h 162652"/>
                <a:gd name="connsiteX5" fmla="*/ 40084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4" y="0"/>
                  </a:lnTo>
                  <a:cubicBezTo>
                    <a:pt x="30089" y="0"/>
                    <a:pt x="40084" y="9679"/>
                    <a:pt x="40084" y="28301"/>
                  </a:cubicBezTo>
                  <a:lnTo>
                    <a:pt x="40084" y="86587"/>
                  </a:lnTo>
                  <a:cubicBezTo>
                    <a:pt x="40084"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grpFill/>
            <a:ln w="10508" cap="flat">
              <a:noFill/>
              <a:prstDash val="solid"/>
              <a:miter/>
            </a:ln>
          </p:spPr>
          <p:txBody>
            <a:bodyPr rtlCol="0" anchor="ctr"/>
            <a:lstStyle/>
            <a:p>
              <a:endParaRPr lang="nl-NL"/>
            </a:p>
          </p:txBody>
        </p:sp>
        <p:sp>
          <p:nvSpPr>
            <p:cNvPr id="46" name="Freeform: Shape 45">
              <a:extLst>
                <a:ext uri="{FF2B5EF4-FFF2-40B4-BE49-F238E27FC236}">
                  <a16:creationId xmlns:a16="http://schemas.microsoft.com/office/drawing/2014/main" id="{E217DF56-0008-47DD-AD3F-B2B685402F51}"/>
                </a:ext>
              </a:extLst>
            </p:cNvPr>
            <p:cNvSpPr/>
            <p:nvPr/>
          </p:nvSpPr>
          <p:spPr>
            <a:xfrm>
              <a:off x="5795154" y="1740355"/>
              <a:ext cx="91636" cy="160548"/>
            </a:xfrm>
            <a:custGeom>
              <a:avLst/>
              <a:gdLst>
                <a:gd name="connsiteX0" fmla="*/ 90058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grpFill/>
            <a:ln w="10508" cap="flat">
              <a:noFill/>
              <a:prstDash val="solid"/>
              <a:miter/>
            </a:ln>
          </p:spPr>
          <p:txBody>
            <a:bodyPr rtlCol="0" anchor="ctr"/>
            <a:lstStyle/>
            <a:p>
              <a:endParaRPr lang="nl-NL"/>
            </a:p>
          </p:txBody>
        </p:sp>
        <p:sp>
          <p:nvSpPr>
            <p:cNvPr id="47" name="Freeform: Shape 46">
              <a:extLst>
                <a:ext uri="{FF2B5EF4-FFF2-40B4-BE49-F238E27FC236}">
                  <a16:creationId xmlns:a16="http://schemas.microsoft.com/office/drawing/2014/main" id="{8FDCB0D9-5BEB-44F2-82A2-F47088BFF387}"/>
                </a:ext>
              </a:extLst>
            </p:cNvPr>
            <p:cNvSpPr/>
            <p:nvPr/>
          </p:nvSpPr>
          <p:spPr>
            <a:xfrm>
              <a:off x="5900468" y="1738356"/>
              <a:ext cx="141400" cy="166124"/>
            </a:xfrm>
            <a:custGeom>
              <a:avLst/>
              <a:gdLst>
                <a:gd name="connsiteX0" fmla="*/ 66807 w 141400"/>
                <a:gd name="connsiteY0" fmla="*/ 100053 h 166124"/>
                <a:gd name="connsiteX1" fmla="*/ 40926 w 141400"/>
                <a:gd name="connsiteY1" fmla="*/ 100053 h 166124"/>
                <a:gd name="connsiteX2" fmla="*/ 85430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30"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sp>
          <p:nvSpPr>
            <p:cNvPr id="48" name="Freeform: Shape 47">
              <a:extLst>
                <a:ext uri="{FF2B5EF4-FFF2-40B4-BE49-F238E27FC236}">
                  <a16:creationId xmlns:a16="http://schemas.microsoft.com/office/drawing/2014/main" id="{7B38D563-2D1D-4D83-875F-52298A0D97FA}"/>
                </a:ext>
              </a:extLst>
            </p:cNvPr>
            <p:cNvSpPr/>
            <p:nvPr/>
          </p:nvSpPr>
          <p:spPr>
            <a:xfrm>
              <a:off x="4685099"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224 w 153814"/>
                <a:gd name="connsiteY5" fmla="*/ 35455 h 166229"/>
                <a:gd name="connsiteX6" fmla="*/ 41031 w 153814"/>
                <a:gd name="connsiteY6" fmla="*/ 80485 h 166229"/>
                <a:gd name="connsiteX7" fmla="*/ 78696 w 153814"/>
                <a:gd name="connsiteY7" fmla="*/ 130879 h 166229"/>
                <a:gd name="connsiteX8" fmla="*/ 112889 w 153814"/>
                <a:gd name="connsiteY8" fmla="*/ 86061 h 166229"/>
                <a:gd name="connsiteX9" fmla="*/ 75224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224" y="35455"/>
                  </a:moveTo>
                  <a:cubicBezTo>
                    <a:pt x="52499" y="35455"/>
                    <a:pt x="41031" y="54288"/>
                    <a:pt x="41031" y="80485"/>
                  </a:cubicBezTo>
                  <a:cubicBezTo>
                    <a:pt x="41031" y="112047"/>
                    <a:pt x="52499" y="130879"/>
                    <a:pt x="78696" y="130879"/>
                  </a:cubicBezTo>
                  <a:cubicBezTo>
                    <a:pt x="101631" y="130879"/>
                    <a:pt x="112889" y="112047"/>
                    <a:pt x="112889" y="86061"/>
                  </a:cubicBezTo>
                  <a:cubicBezTo>
                    <a:pt x="112889" y="54288"/>
                    <a:pt x="101105" y="35350"/>
                    <a:pt x="75224" y="35350"/>
                  </a:cubicBezTo>
                  <a:close/>
                </a:path>
              </a:pathLst>
            </a:custGeom>
            <a:grpFill/>
            <a:ln w="10508" cap="flat">
              <a:noFill/>
              <a:prstDash val="solid"/>
              <a:miter/>
            </a:ln>
          </p:spPr>
          <p:txBody>
            <a:bodyPr rtlCol="0" anchor="ctr"/>
            <a:lstStyle/>
            <a:p>
              <a:endParaRPr lang="nl-NL"/>
            </a:p>
          </p:txBody>
        </p:sp>
        <p:sp>
          <p:nvSpPr>
            <p:cNvPr id="49" name="Freeform: Shape 48">
              <a:extLst>
                <a:ext uri="{FF2B5EF4-FFF2-40B4-BE49-F238E27FC236}">
                  <a16:creationId xmlns:a16="http://schemas.microsoft.com/office/drawing/2014/main" id="{51AF3524-F311-4E92-B2B9-EE093E709952}"/>
                </a:ext>
              </a:extLst>
            </p:cNvPr>
            <p:cNvSpPr/>
            <p:nvPr/>
          </p:nvSpPr>
          <p:spPr>
            <a:xfrm>
              <a:off x="4868267" y="2001483"/>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grpFill/>
            <a:ln w="10508" cap="flat">
              <a:noFill/>
              <a:prstDash val="solid"/>
              <a:miter/>
            </a:ln>
          </p:spPr>
          <p:txBody>
            <a:bodyPr rtlCol="0" anchor="ctr"/>
            <a:lstStyle/>
            <a:p>
              <a:endParaRPr lang="nl-NL"/>
            </a:p>
          </p:txBody>
        </p:sp>
        <p:sp>
          <p:nvSpPr>
            <p:cNvPr id="50" name="Freeform: Shape 49">
              <a:extLst>
                <a:ext uri="{FF2B5EF4-FFF2-40B4-BE49-F238E27FC236}">
                  <a16:creationId xmlns:a16="http://schemas.microsoft.com/office/drawing/2014/main" id="{4DD21E30-4FF5-4A44-A728-F84497DEACA1}"/>
                </a:ext>
              </a:extLst>
            </p:cNvPr>
            <p:cNvSpPr/>
            <p:nvPr/>
          </p:nvSpPr>
          <p:spPr>
            <a:xfrm>
              <a:off x="5034917"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grpFill/>
            <a:ln w="10508" cap="flat">
              <a:noFill/>
              <a:prstDash val="solid"/>
              <a:miter/>
            </a:ln>
          </p:spPr>
          <p:txBody>
            <a:bodyPr rtlCol="0" anchor="ctr"/>
            <a:lstStyle/>
            <a:p>
              <a:endParaRPr lang="nl-NL"/>
            </a:p>
          </p:txBody>
        </p:sp>
        <p:sp>
          <p:nvSpPr>
            <p:cNvPr id="51" name="Freeform: Shape 50">
              <a:extLst>
                <a:ext uri="{FF2B5EF4-FFF2-40B4-BE49-F238E27FC236}">
                  <a16:creationId xmlns:a16="http://schemas.microsoft.com/office/drawing/2014/main" id="{CA0AF4C0-4336-4546-AAE0-A081D6A2E6C2}"/>
                </a:ext>
              </a:extLst>
            </p:cNvPr>
            <p:cNvSpPr/>
            <p:nvPr/>
          </p:nvSpPr>
          <p:spPr>
            <a:xfrm>
              <a:off x="5190941"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sp>
          <p:nvSpPr>
            <p:cNvPr id="52" name="Freeform: Shape 51">
              <a:extLst>
                <a:ext uri="{FF2B5EF4-FFF2-40B4-BE49-F238E27FC236}">
                  <a16:creationId xmlns:a16="http://schemas.microsoft.com/office/drawing/2014/main" id="{D473CB6C-AC96-46D8-9D4E-A2A6AD7A595F}"/>
                </a:ext>
              </a:extLst>
            </p:cNvPr>
            <p:cNvSpPr/>
            <p:nvPr/>
          </p:nvSpPr>
          <p:spPr>
            <a:xfrm>
              <a:off x="5360853" y="2055981"/>
              <a:ext cx="91636" cy="160548"/>
            </a:xfrm>
            <a:custGeom>
              <a:avLst/>
              <a:gdLst>
                <a:gd name="connsiteX0" fmla="*/ 90059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4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9"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10" y="0"/>
                    <a:pt x="91637" y="13888"/>
                    <a:pt x="91637" y="25881"/>
                  </a:cubicBezTo>
                  <a:lnTo>
                    <a:pt x="91637" y="39979"/>
                  </a:lnTo>
                  <a:lnTo>
                    <a:pt x="90164" y="39979"/>
                  </a:lnTo>
                  <a:close/>
                </a:path>
              </a:pathLst>
            </a:custGeom>
            <a:grpFill/>
            <a:ln w="10508" cap="flat">
              <a:noFill/>
              <a:prstDash val="solid"/>
              <a:miter/>
            </a:ln>
          </p:spPr>
          <p:txBody>
            <a:bodyPr rtlCol="0" anchor="ctr"/>
            <a:lstStyle/>
            <a:p>
              <a:endParaRPr lang="nl-NL"/>
            </a:p>
          </p:txBody>
        </p:sp>
        <p:sp>
          <p:nvSpPr>
            <p:cNvPr id="53" name="Freeform: Shape 52">
              <a:extLst>
                <a:ext uri="{FF2B5EF4-FFF2-40B4-BE49-F238E27FC236}">
                  <a16:creationId xmlns:a16="http://schemas.microsoft.com/office/drawing/2014/main" id="{B421F011-0247-4DBE-B71E-33A05C044928}"/>
                </a:ext>
              </a:extLst>
            </p:cNvPr>
            <p:cNvSpPr/>
            <p:nvPr/>
          </p:nvSpPr>
          <p:spPr>
            <a:xfrm>
              <a:off x="5466167"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119 w 153814"/>
                <a:gd name="connsiteY5" fmla="*/ 35455 h 166229"/>
                <a:gd name="connsiteX6" fmla="*/ 40926 w 153814"/>
                <a:gd name="connsiteY6" fmla="*/ 80485 h 166229"/>
                <a:gd name="connsiteX7" fmla="*/ 78591 w 153814"/>
                <a:gd name="connsiteY7" fmla="*/ 130879 h 166229"/>
                <a:gd name="connsiteX8" fmla="*/ 112784 w 153814"/>
                <a:gd name="connsiteY8" fmla="*/ 86061 h 166229"/>
                <a:gd name="connsiteX9" fmla="*/ 75119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119" y="35455"/>
                  </a:moveTo>
                  <a:cubicBezTo>
                    <a:pt x="52394" y="35455"/>
                    <a:pt x="40926" y="54288"/>
                    <a:pt x="40926" y="80485"/>
                  </a:cubicBezTo>
                  <a:cubicBezTo>
                    <a:pt x="40926" y="112047"/>
                    <a:pt x="52394" y="130879"/>
                    <a:pt x="78591" y="130879"/>
                  </a:cubicBezTo>
                  <a:cubicBezTo>
                    <a:pt x="101527" y="130879"/>
                    <a:pt x="112784" y="112047"/>
                    <a:pt x="112784" y="86061"/>
                  </a:cubicBezTo>
                  <a:cubicBezTo>
                    <a:pt x="112784" y="54288"/>
                    <a:pt x="101000" y="35350"/>
                    <a:pt x="75119" y="35350"/>
                  </a:cubicBezTo>
                  <a:close/>
                </a:path>
              </a:pathLst>
            </a:custGeom>
            <a:grpFill/>
            <a:ln w="10508" cap="flat">
              <a:noFill/>
              <a:prstDash val="solid"/>
              <a:miter/>
            </a:ln>
          </p:spPr>
          <p:txBody>
            <a:bodyPr rtlCol="0" anchor="ctr"/>
            <a:lstStyle/>
            <a:p>
              <a:endParaRPr lang="nl-NL"/>
            </a:p>
          </p:txBody>
        </p:sp>
        <p:sp>
          <p:nvSpPr>
            <p:cNvPr id="54" name="Freeform: Shape 53">
              <a:extLst>
                <a:ext uri="{FF2B5EF4-FFF2-40B4-BE49-F238E27FC236}">
                  <a16:creationId xmlns:a16="http://schemas.microsoft.com/office/drawing/2014/main" id="{CDB60A58-F838-4626-8334-B8F568F112DD}"/>
                </a:ext>
              </a:extLst>
            </p:cNvPr>
            <p:cNvSpPr/>
            <p:nvPr/>
          </p:nvSpPr>
          <p:spPr>
            <a:xfrm>
              <a:off x="5641339" y="2053982"/>
              <a:ext cx="122041" cy="166124"/>
            </a:xfrm>
            <a:custGeom>
              <a:avLst/>
              <a:gdLst>
                <a:gd name="connsiteX0" fmla="*/ 55655 w 122041"/>
                <a:gd name="connsiteY0" fmla="*/ 166124 h 166124"/>
                <a:gd name="connsiteX1" fmla="*/ 4734 w 122041"/>
                <a:gd name="connsiteY1" fmla="*/ 134877 h 166124"/>
                <a:gd name="connsiteX2" fmla="*/ 4734 w 122041"/>
                <a:gd name="connsiteY2" fmla="*/ 116887 h 166124"/>
                <a:gd name="connsiteX3" fmla="*/ 6207 w 122041"/>
                <a:gd name="connsiteY3" fmla="*/ 116887 h 166124"/>
                <a:gd name="connsiteX4" fmla="*/ 53972 w 122041"/>
                <a:gd name="connsiteY4" fmla="*/ 131932 h 166124"/>
                <a:gd name="connsiteX5" fmla="*/ 82799 w 122041"/>
                <a:gd name="connsiteY5" fmla="*/ 114572 h 166124"/>
                <a:gd name="connsiteX6" fmla="*/ 49763 w 122041"/>
                <a:gd name="connsiteY6" fmla="*/ 97213 h 166124"/>
                <a:gd name="connsiteX7" fmla="*/ 0 w 122041"/>
                <a:gd name="connsiteY7" fmla="*/ 55129 h 166124"/>
                <a:gd name="connsiteX8" fmla="*/ 67438 w 122041"/>
                <a:gd name="connsiteY8" fmla="*/ 0 h 166124"/>
                <a:gd name="connsiteX9" fmla="*/ 118149 w 122041"/>
                <a:gd name="connsiteY9" fmla="*/ 33877 h 166124"/>
                <a:gd name="connsiteX10" fmla="*/ 118149 w 122041"/>
                <a:gd name="connsiteY10" fmla="*/ 48922 h 166124"/>
                <a:gd name="connsiteX11" fmla="*/ 116676 w 122041"/>
                <a:gd name="connsiteY11" fmla="*/ 48922 h 166124"/>
                <a:gd name="connsiteX12" fmla="*/ 71331 w 122041"/>
                <a:gd name="connsiteY12" fmla="*/ 34193 h 166124"/>
                <a:gd name="connsiteX13" fmla="*/ 39558 w 122041"/>
                <a:gd name="connsiteY13" fmla="*/ 51868 h 166124"/>
                <a:gd name="connsiteX14" fmla="*/ 71331 w 122041"/>
                <a:gd name="connsiteY14" fmla="*/ 67439 h 166124"/>
                <a:gd name="connsiteX15" fmla="*/ 122042 w 122041"/>
                <a:gd name="connsiteY15" fmla="*/ 112468 h 166124"/>
                <a:gd name="connsiteX16" fmla="*/ 55760 w 122041"/>
                <a:gd name="connsiteY16" fmla="*/ 166124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41" h="166124">
                  <a:moveTo>
                    <a:pt x="55655" y="166124"/>
                  </a:moveTo>
                  <a:cubicBezTo>
                    <a:pt x="26512" y="166124"/>
                    <a:pt x="4734" y="151079"/>
                    <a:pt x="4734" y="134877"/>
                  </a:cubicBezTo>
                  <a:lnTo>
                    <a:pt x="4734" y="116887"/>
                  </a:lnTo>
                  <a:lnTo>
                    <a:pt x="6207" y="116887"/>
                  </a:lnTo>
                  <a:cubicBezTo>
                    <a:pt x="14729" y="124883"/>
                    <a:pt x="35034" y="131932"/>
                    <a:pt x="53972" y="131932"/>
                  </a:cubicBezTo>
                  <a:cubicBezTo>
                    <a:pt x="72909" y="131932"/>
                    <a:pt x="82799" y="126355"/>
                    <a:pt x="82799" y="114572"/>
                  </a:cubicBezTo>
                  <a:cubicBezTo>
                    <a:pt x="82799" y="105419"/>
                    <a:pt x="77223" y="101000"/>
                    <a:pt x="49763" y="97213"/>
                  </a:cubicBezTo>
                  <a:cubicBezTo>
                    <a:pt x="16202" y="92478"/>
                    <a:pt x="0" y="79222"/>
                    <a:pt x="0" y="55129"/>
                  </a:cubicBezTo>
                  <a:cubicBezTo>
                    <a:pt x="0" y="25355"/>
                    <a:pt x="26828" y="0"/>
                    <a:pt x="67438" y="0"/>
                  </a:cubicBezTo>
                  <a:cubicBezTo>
                    <a:pt x="103420" y="0"/>
                    <a:pt x="118149" y="18517"/>
                    <a:pt x="118149" y="33877"/>
                  </a:cubicBezTo>
                  <a:lnTo>
                    <a:pt x="118149" y="48922"/>
                  </a:lnTo>
                  <a:lnTo>
                    <a:pt x="116676" y="48922"/>
                  </a:lnTo>
                  <a:cubicBezTo>
                    <a:pt x="108470" y="40716"/>
                    <a:pt x="90163" y="34193"/>
                    <a:pt x="71331" y="34193"/>
                  </a:cubicBezTo>
                  <a:cubicBezTo>
                    <a:pt x="47133" y="34193"/>
                    <a:pt x="39558" y="41557"/>
                    <a:pt x="39558" y="51868"/>
                  </a:cubicBezTo>
                  <a:cubicBezTo>
                    <a:pt x="39558" y="59864"/>
                    <a:pt x="44293" y="63020"/>
                    <a:pt x="71331" y="67439"/>
                  </a:cubicBezTo>
                  <a:cubicBezTo>
                    <a:pt x="104367" y="72699"/>
                    <a:pt x="122042" y="87218"/>
                    <a:pt x="122042" y="112468"/>
                  </a:cubicBezTo>
                  <a:cubicBezTo>
                    <a:pt x="122042" y="146029"/>
                    <a:pt x="98475" y="166124"/>
                    <a:pt x="55760" y="166124"/>
                  </a:cubicBezTo>
                  <a:close/>
                </a:path>
              </a:pathLst>
            </a:custGeom>
            <a:grpFill/>
            <a:ln w="10508" cap="flat">
              <a:noFill/>
              <a:prstDash val="solid"/>
              <a:miter/>
            </a:ln>
          </p:spPr>
          <p:txBody>
            <a:bodyPr rtlCol="0" anchor="ctr"/>
            <a:lstStyle/>
            <a:p>
              <a:endParaRPr lang="nl-NL"/>
            </a:p>
          </p:txBody>
        </p:sp>
        <p:sp>
          <p:nvSpPr>
            <p:cNvPr id="55" name="Freeform: Shape 54">
              <a:extLst>
                <a:ext uri="{FF2B5EF4-FFF2-40B4-BE49-F238E27FC236}">
                  <a16:creationId xmlns:a16="http://schemas.microsoft.com/office/drawing/2014/main" id="{514B8BE0-16BC-4243-BCA2-96A21C5285E0}"/>
                </a:ext>
              </a:extLst>
            </p:cNvPr>
            <p:cNvSpPr/>
            <p:nvPr/>
          </p:nvSpPr>
          <p:spPr>
            <a:xfrm>
              <a:off x="5791366" y="2053982"/>
              <a:ext cx="151710" cy="212626"/>
            </a:xfrm>
            <a:custGeom>
              <a:avLst/>
              <a:gdLst>
                <a:gd name="connsiteX0" fmla="*/ 80169 w 151710"/>
                <a:gd name="connsiteY0" fmla="*/ 166124 h 212626"/>
                <a:gd name="connsiteX1" fmla="*/ 40084 w 151710"/>
                <a:gd name="connsiteY1" fmla="*/ 142558 h 212626"/>
                <a:gd name="connsiteX2" fmla="*/ 40084 w 151710"/>
                <a:gd name="connsiteY2" fmla="*/ 212626 h 212626"/>
                <a:gd name="connsiteX3" fmla="*/ 27670 w 151710"/>
                <a:gd name="connsiteY3" fmla="*/ 212626 h 212626"/>
                <a:gd name="connsiteX4" fmla="*/ 0 w 151710"/>
                <a:gd name="connsiteY4" fmla="*/ 185272 h 212626"/>
                <a:gd name="connsiteX5" fmla="*/ 0 w 151710"/>
                <a:gd name="connsiteY5" fmla="*/ 89217 h 212626"/>
                <a:gd name="connsiteX6" fmla="*/ 79538 w 151710"/>
                <a:gd name="connsiteY6" fmla="*/ 0 h 212626"/>
                <a:gd name="connsiteX7" fmla="*/ 151711 w 151710"/>
                <a:gd name="connsiteY7" fmla="*/ 78380 h 212626"/>
                <a:gd name="connsiteX8" fmla="*/ 80169 w 151710"/>
                <a:gd name="connsiteY8" fmla="*/ 166124 h 212626"/>
                <a:gd name="connsiteX9" fmla="*/ 73436 w 151710"/>
                <a:gd name="connsiteY9" fmla="*/ 35034 h 212626"/>
                <a:gd name="connsiteX10" fmla="*/ 39559 w 151710"/>
                <a:gd name="connsiteY10" fmla="*/ 81326 h 212626"/>
                <a:gd name="connsiteX11" fmla="*/ 78696 w 151710"/>
                <a:gd name="connsiteY11" fmla="*/ 131090 h 212626"/>
                <a:gd name="connsiteX12" fmla="*/ 111100 w 151710"/>
                <a:gd name="connsiteY12" fmla="*/ 88691 h 212626"/>
                <a:gd name="connsiteX13" fmla="*/ 73436 w 151710"/>
                <a:gd name="connsiteY13" fmla="*/ 35034 h 21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710" h="212626">
                  <a:moveTo>
                    <a:pt x="80169" y="166124"/>
                  </a:moveTo>
                  <a:cubicBezTo>
                    <a:pt x="62494" y="166124"/>
                    <a:pt x="48080" y="156130"/>
                    <a:pt x="40084" y="142558"/>
                  </a:cubicBezTo>
                  <a:lnTo>
                    <a:pt x="40084" y="212626"/>
                  </a:lnTo>
                  <a:lnTo>
                    <a:pt x="27670" y="212626"/>
                  </a:lnTo>
                  <a:cubicBezTo>
                    <a:pt x="13572" y="212626"/>
                    <a:pt x="0" y="202316"/>
                    <a:pt x="0" y="185272"/>
                  </a:cubicBezTo>
                  <a:lnTo>
                    <a:pt x="0" y="89217"/>
                  </a:lnTo>
                  <a:cubicBezTo>
                    <a:pt x="0" y="36507"/>
                    <a:pt x="23567" y="0"/>
                    <a:pt x="79538" y="0"/>
                  </a:cubicBezTo>
                  <a:cubicBezTo>
                    <a:pt x="121621" y="0"/>
                    <a:pt x="151711" y="38296"/>
                    <a:pt x="151711" y="78380"/>
                  </a:cubicBezTo>
                  <a:cubicBezTo>
                    <a:pt x="151711" y="129301"/>
                    <a:pt x="126356" y="166124"/>
                    <a:pt x="80169" y="166124"/>
                  </a:cubicBezTo>
                  <a:close/>
                  <a:moveTo>
                    <a:pt x="73436" y="35034"/>
                  </a:moveTo>
                  <a:cubicBezTo>
                    <a:pt x="51657" y="35034"/>
                    <a:pt x="39559" y="53867"/>
                    <a:pt x="39559" y="81326"/>
                  </a:cubicBezTo>
                  <a:cubicBezTo>
                    <a:pt x="39559" y="113099"/>
                    <a:pt x="55129" y="131090"/>
                    <a:pt x="78696" y="131090"/>
                  </a:cubicBezTo>
                  <a:cubicBezTo>
                    <a:pt x="97844" y="131090"/>
                    <a:pt x="111100" y="114046"/>
                    <a:pt x="111100" y="88691"/>
                  </a:cubicBezTo>
                  <a:cubicBezTo>
                    <a:pt x="111100" y="51237"/>
                    <a:pt x="98686" y="35034"/>
                    <a:pt x="73436" y="35034"/>
                  </a:cubicBezTo>
                  <a:close/>
                </a:path>
              </a:pathLst>
            </a:custGeom>
            <a:grpFill/>
            <a:ln w="10508" cap="flat">
              <a:noFill/>
              <a:prstDash val="solid"/>
              <a:miter/>
            </a:ln>
          </p:spPr>
          <p:txBody>
            <a:bodyPr rtlCol="0" anchor="ctr"/>
            <a:lstStyle/>
            <a:p>
              <a:endParaRPr lang="nl-NL"/>
            </a:p>
          </p:txBody>
        </p:sp>
        <p:sp>
          <p:nvSpPr>
            <p:cNvPr id="56" name="Freeform: Shape 55">
              <a:extLst>
                <a:ext uri="{FF2B5EF4-FFF2-40B4-BE49-F238E27FC236}">
                  <a16:creationId xmlns:a16="http://schemas.microsoft.com/office/drawing/2014/main" id="{B4FC745E-941C-4CA9-8CD7-66FFED285720}"/>
                </a:ext>
              </a:extLst>
            </p:cNvPr>
            <p:cNvSpPr/>
            <p:nvPr/>
          </p:nvSpPr>
          <p:spPr>
            <a:xfrm>
              <a:off x="5964119"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grpFill/>
            <a:ln w="10508" cap="flat">
              <a:noFill/>
              <a:prstDash val="solid"/>
              <a:miter/>
            </a:ln>
          </p:spPr>
          <p:txBody>
            <a:bodyPr rtlCol="0" anchor="ctr"/>
            <a:lstStyle/>
            <a:p>
              <a:endParaRPr lang="nl-NL"/>
            </a:p>
          </p:txBody>
        </p:sp>
        <p:sp>
          <p:nvSpPr>
            <p:cNvPr id="57" name="Freeform: Shape 56">
              <a:extLst>
                <a:ext uri="{FF2B5EF4-FFF2-40B4-BE49-F238E27FC236}">
                  <a16:creationId xmlns:a16="http://schemas.microsoft.com/office/drawing/2014/main" id="{6A972957-7E3D-49A4-8C46-448113663B90}"/>
                </a:ext>
              </a:extLst>
            </p:cNvPr>
            <p:cNvSpPr/>
            <p:nvPr/>
          </p:nvSpPr>
          <p:spPr>
            <a:xfrm>
              <a:off x="6119407" y="2055981"/>
              <a:ext cx="129091" cy="163494"/>
            </a:xfrm>
            <a:custGeom>
              <a:avLst/>
              <a:gdLst>
                <a:gd name="connsiteX0" fmla="*/ 127618 w 129091"/>
                <a:gd name="connsiteY0" fmla="*/ 52710 h 163494"/>
                <a:gd name="connsiteX1" fmla="*/ 84588 w 129091"/>
                <a:gd name="connsiteY1" fmla="*/ 36192 h 163494"/>
                <a:gd name="connsiteX2" fmla="*/ 41242 w 129091"/>
                <a:gd name="connsiteY2" fmla="*/ 78275 h 163494"/>
                <a:gd name="connsiteX3" fmla="*/ 85114 w 129091"/>
                <a:gd name="connsiteY3" fmla="*/ 126881 h 163494"/>
                <a:gd name="connsiteX4" fmla="*/ 126987 w 129091"/>
                <a:gd name="connsiteY4" fmla="*/ 112152 h 163494"/>
                <a:gd name="connsiteX5" fmla="*/ 128460 w 129091"/>
                <a:gd name="connsiteY5" fmla="*/ 112152 h 163494"/>
                <a:gd name="connsiteX6" fmla="*/ 128460 w 129091"/>
                <a:gd name="connsiteY6" fmla="*/ 130459 h 163494"/>
                <a:gd name="connsiteX7" fmla="*/ 81326 w 129091"/>
                <a:gd name="connsiteY7" fmla="*/ 163494 h 163494"/>
                <a:gd name="connsiteX8" fmla="*/ 0 w 129091"/>
                <a:gd name="connsiteY8" fmla="*/ 84272 h 163494"/>
                <a:gd name="connsiteX9" fmla="*/ 85745 w 129091"/>
                <a:gd name="connsiteY9" fmla="*/ 0 h 163494"/>
                <a:gd name="connsiteX10" fmla="*/ 129091 w 129091"/>
                <a:gd name="connsiteY10" fmla="*/ 34193 h 163494"/>
                <a:gd name="connsiteX11" fmla="*/ 129091 w 129091"/>
                <a:gd name="connsiteY11" fmla="*/ 52710 h 163494"/>
                <a:gd name="connsiteX12" fmla="*/ 127618 w 129091"/>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1" h="163494">
                  <a:moveTo>
                    <a:pt x="127618" y="52710"/>
                  </a:moveTo>
                  <a:cubicBezTo>
                    <a:pt x="122358" y="43556"/>
                    <a:pt x="107313" y="36192"/>
                    <a:pt x="84588" y="36192"/>
                  </a:cubicBezTo>
                  <a:cubicBezTo>
                    <a:pt x="61863" y="36192"/>
                    <a:pt x="41242" y="54708"/>
                    <a:pt x="41242" y="78275"/>
                  </a:cubicBezTo>
                  <a:cubicBezTo>
                    <a:pt x="41242" y="107102"/>
                    <a:pt x="58286" y="126881"/>
                    <a:pt x="85114" y="126881"/>
                  </a:cubicBezTo>
                  <a:cubicBezTo>
                    <a:pt x="107839" y="126881"/>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1" y="0"/>
                    <a:pt x="129091" y="15360"/>
                    <a:pt x="129091" y="34193"/>
                  </a:cubicBezTo>
                  <a:lnTo>
                    <a:pt x="129091" y="52710"/>
                  </a:lnTo>
                  <a:lnTo>
                    <a:pt x="127618" y="52710"/>
                  </a:lnTo>
                  <a:close/>
                </a:path>
              </a:pathLst>
            </a:custGeom>
            <a:grpFill/>
            <a:ln w="10508"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22997F9B-D0BB-4545-B273-578435313294}"/>
                </a:ext>
              </a:extLst>
            </p:cNvPr>
            <p:cNvSpPr/>
            <p:nvPr/>
          </p:nvSpPr>
          <p:spPr>
            <a:xfrm>
              <a:off x="6268803"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grpFill/>
            <a:ln w="10508" cap="flat">
              <a:noFill/>
              <a:prstDash val="solid"/>
              <a:miter/>
            </a:ln>
          </p:spPr>
          <p:txBody>
            <a:bodyPr rtlCol="0" anchor="ctr"/>
            <a:lstStyle/>
            <a:p>
              <a:endParaRPr lang="nl-NL"/>
            </a:p>
          </p:txBody>
        </p:sp>
      </p:grpSp>
      <p:sp>
        <p:nvSpPr>
          <p:cNvPr id="24" name="Freeform: Shape 23">
            <a:extLst>
              <a:ext uri="{FF2B5EF4-FFF2-40B4-BE49-F238E27FC236}">
                <a16:creationId xmlns:a16="http://schemas.microsoft.com/office/drawing/2014/main" id="{569A03D5-5B4E-455A-BE30-169AA7ED4944}"/>
              </a:ext>
            </a:extLst>
          </p:cNvPr>
          <p:cNvSpPr>
            <a:spLocks noChangeAspect="1"/>
          </p:cNvSpPr>
          <p:nvPr/>
        </p:nvSpPr>
        <p:spPr>
          <a:xfrm>
            <a:off x="4596272" y="2119199"/>
            <a:ext cx="16077" cy="515597"/>
          </a:xfrm>
          <a:custGeom>
            <a:avLst/>
            <a:gdLst>
              <a:gd name="connsiteX0" fmla="*/ 15781 w 31562"/>
              <a:gd name="connsiteY0" fmla="*/ 1012211 h 1012211"/>
              <a:gd name="connsiteX1" fmla="*/ 0 w 31562"/>
              <a:gd name="connsiteY1" fmla="*/ 996430 h 1012211"/>
              <a:gd name="connsiteX2" fmla="*/ 0 w 31562"/>
              <a:gd name="connsiteY2" fmla="*/ 15781 h 1012211"/>
              <a:gd name="connsiteX3" fmla="*/ 15781 w 31562"/>
              <a:gd name="connsiteY3" fmla="*/ 0 h 1012211"/>
              <a:gd name="connsiteX4" fmla="*/ 31563 w 31562"/>
              <a:gd name="connsiteY4" fmla="*/ 15781 h 1012211"/>
              <a:gd name="connsiteX5" fmla="*/ 31563 w 31562"/>
              <a:gd name="connsiteY5" fmla="*/ 996325 h 1012211"/>
              <a:gd name="connsiteX6" fmla="*/ 15781 w 31562"/>
              <a:gd name="connsiteY6" fmla="*/ 1012106 h 101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62" h="1012211">
                <a:moveTo>
                  <a:pt x="15781" y="1012211"/>
                </a:moveTo>
                <a:cubicBezTo>
                  <a:pt x="7049" y="1012211"/>
                  <a:pt x="0" y="1005162"/>
                  <a:pt x="0" y="996430"/>
                </a:cubicBezTo>
                <a:lnTo>
                  <a:pt x="0" y="15781"/>
                </a:lnTo>
                <a:cubicBezTo>
                  <a:pt x="0" y="7049"/>
                  <a:pt x="7049" y="0"/>
                  <a:pt x="15781" y="0"/>
                </a:cubicBezTo>
                <a:cubicBezTo>
                  <a:pt x="24514" y="0"/>
                  <a:pt x="31563" y="7049"/>
                  <a:pt x="31563" y="15781"/>
                </a:cubicBezTo>
                <a:lnTo>
                  <a:pt x="31563" y="996325"/>
                </a:lnTo>
                <a:cubicBezTo>
                  <a:pt x="31563" y="1005057"/>
                  <a:pt x="24514" y="1012106"/>
                  <a:pt x="15781" y="1012106"/>
                </a:cubicBezTo>
                <a:close/>
              </a:path>
            </a:pathLst>
          </a:custGeom>
          <a:solidFill>
            <a:schemeClr val="bg1"/>
          </a:solidFill>
          <a:ln w="10508" cap="flat">
            <a:noFill/>
            <a:prstDash val="solid"/>
            <a:miter/>
          </a:ln>
        </p:spPr>
        <p:txBody>
          <a:bodyPr rtlCol="0" anchor="ctr"/>
          <a:lstStyle/>
          <a:p>
            <a:endParaRPr lang="nl-NL"/>
          </a:p>
        </p:txBody>
      </p:sp>
      <p:sp>
        <p:nvSpPr>
          <p:cNvPr id="10" name="Title 9">
            <a:extLst>
              <a:ext uri="{FF2B5EF4-FFF2-40B4-BE49-F238E27FC236}">
                <a16:creationId xmlns:a16="http://schemas.microsoft.com/office/drawing/2014/main" id="{1E90F8CF-F392-47C6-98A9-AE7E16EFFFD4}"/>
              </a:ext>
            </a:extLst>
          </p:cNvPr>
          <p:cNvSpPr>
            <a:spLocks noGrp="1"/>
          </p:cNvSpPr>
          <p:nvPr>
            <p:ph type="title"/>
          </p:nvPr>
        </p:nvSpPr>
        <p:spPr>
          <a:xfrm>
            <a:off x="792163" y="3452519"/>
            <a:ext cx="7500844" cy="461665"/>
          </a:xfrm>
          <a:prstGeom prst="rect">
            <a:avLst/>
          </a:prstGeom>
        </p:spPr>
        <p:txBody>
          <a:bodyPr/>
          <a:lstStyle>
            <a:lvl1pPr algn="ctr">
              <a:defRPr>
                <a:solidFill>
                  <a:schemeClr val="bg1"/>
                </a:solidFill>
              </a:defRPr>
            </a:lvl1pPr>
          </a:lstStyle>
          <a:p>
            <a:r>
              <a:rPr lang="en-US"/>
              <a:t>Click to edit Master title style</a:t>
            </a:r>
            <a:endParaRPr lang="nl-NL" dirty="0"/>
          </a:p>
        </p:txBody>
      </p:sp>
    </p:spTree>
    <p:extLst>
      <p:ext uri="{BB962C8B-B14F-4D97-AF65-F5344CB8AC3E}">
        <p14:creationId xmlns:p14="http://schemas.microsoft.com/office/powerpoint/2010/main" val="12172638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500"/>
                                  </p:stCondLst>
                                  <p:childTnLst>
                                    <p:set>
                                      <p:cBhvr>
                                        <p:cTn id="6" dur="1" fill="hold">
                                          <p:stCondLst>
                                            <p:cond delay="0"/>
                                          </p:stCondLst>
                                        </p:cTn>
                                        <p:tgtEl>
                                          <p:spTgt spid="24"/>
                                        </p:tgtEl>
                                        <p:attrNameLst>
                                          <p:attrName>style.visibility</p:attrName>
                                        </p:attrNameLst>
                                      </p:cBhvr>
                                      <p:to>
                                        <p:strVal val="visible"/>
                                      </p:to>
                                    </p:set>
                                    <p:animEffect transition="in" filter="barn(outHorizontal)">
                                      <p:cBhvr>
                                        <p:cTn id="7" dur="500"/>
                                        <p:tgtEl>
                                          <p:spTgt spid="24"/>
                                        </p:tgtEl>
                                      </p:cBhvr>
                                    </p:animEffect>
                                  </p:childTnLst>
                                </p:cTn>
                              </p:par>
                              <p:par>
                                <p:cTn id="8" presetID="22" presetClass="entr" presetSubtype="2" fill="hold" nodeType="withEffect">
                                  <p:stCondLst>
                                    <p:cond delay="750"/>
                                  </p:stCondLst>
                                  <p:childTnLst>
                                    <p:set>
                                      <p:cBhvr>
                                        <p:cTn id="9" dur="1" fill="hold">
                                          <p:stCondLst>
                                            <p:cond delay="0"/>
                                          </p:stCondLst>
                                        </p:cTn>
                                        <p:tgtEl>
                                          <p:spTgt spid="22"/>
                                        </p:tgtEl>
                                        <p:attrNameLst>
                                          <p:attrName>style.visibility</p:attrName>
                                        </p:attrNameLst>
                                      </p:cBhvr>
                                      <p:to>
                                        <p:strVal val="visible"/>
                                      </p:to>
                                    </p:set>
                                    <p:animEffect transition="in" filter="wipe(right)">
                                      <p:cBhvr>
                                        <p:cTn id="10" dur="500"/>
                                        <p:tgtEl>
                                          <p:spTgt spid="22"/>
                                        </p:tgtEl>
                                      </p:cBhvr>
                                    </p:animEffect>
                                  </p:childTnLst>
                                </p:cTn>
                              </p:par>
                              <p:par>
                                <p:cTn id="11" presetID="10" presetClass="entr" presetSubtype="0" fill="hold" nodeType="withEffect">
                                  <p:stCondLst>
                                    <p:cond delay="75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1000"/>
                                        <p:tgtEl>
                                          <p:spTgt spid="22"/>
                                        </p:tgtEl>
                                      </p:cBhvr>
                                    </p:animEffect>
                                  </p:childTnLst>
                                </p:cTn>
                              </p:par>
                              <p:par>
                                <p:cTn id="14" presetID="22" presetClass="entr" presetSubtype="8" fill="hold" nodeType="withEffect">
                                  <p:stCondLst>
                                    <p:cond delay="125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par>
                                <p:cTn id="17" presetID="10" presetClass="entr" presetSubtype="0" fill="hold" nodeType="withEffect">
                                  <p:stCondLst>
                                    <p:cond delay="125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childTnLst>
                                </p:cTn>
                              </p:par>
                            </p:childTnLst>
                          </p:cTn>
                        </p:par>
                        <p:par>
                          <p:cTn id="20" fill="hold">
                            <p:stCondLst>
                              <p:cond delay="2250"/>
                            </p:stCondLst>
                            <p:childTnLst>
                              <p:par>
                                <p:cTn id="21" presetID="53" presetClass="entr" presetSubtype="16" fill="hold" grpId="0" nodeType="afterEffect" nodePh="1">
                                  <p:stCondLst>
                                    <p:cond delay="0"/>
                                  </p:stCondLst>
                                  <p:endCondLst>
                                    <p:cond evt="begin" delay="0">
                                      <p:tn val="21"/>
                                    </p:cond>
                                  </p:end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750"/>
                            </p:stCondLst>
                            <p:childTnLst>
                              <p:par>
                                <p:cTn id="27" presetID="26" presetClass="emph" presetSubtype="0" fill="hold" grpId="1" nodeType="afterEffect" nodePh="1">
                                  <p:stCondLst>
                                    <p:cond delay="0"/>
                                  </p:stCondLst>
                                  <p:endCondLst>
                                    <p:cond evt="begin" delay="0">
                                      <p:tn val="27"/>
                                    </p:cond>
                                  </p:endCondLst>
                                  <p:childTnLst>
                                    <p:animEffect transition="out" filter="fade">
                                      <p:cBhvr>
                                        <p:cTn id="28" dur="500" tmFilter="0, 0; .2, .5; .8, .5; 1, 0"/>
                                        <p:tgtEl>
                                          <p:spTgt spid="10"/>
                                        </p:tgtEl>
                                      </p:cBhvr>
                                    </p:animEffect>
                                    <p:animScale>
                                      <p:cBhvr>
                                        <p:cTn id="29"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0" grpId="0"/>
      <p:bldP spid="10" grpId="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and 4 Pictur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7" name="Picture Placeholder 2"/>
          <p:cNvSpPr>
            <a:spLocks noGrp="1"/>
          </p:cNvSpPr>
          <p:nvPr>
            <p:ph type="pic" idx="17"/>
          </p:nvPr>
        </p:nvSpPr>
        <p:spPr>
          <a:xfrm>
            <a:off x="681038" y="3486713"/>
            <a:ext cx="1817362" cy="1043854"/>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dirty="0"/>
          </a:p>
        </p:txBody>
      </p:sp>
      <p:sp>
        <p:nvSpPr>
          <p:cNvPr id="8" name="Picture Placeholder 2"/>
          <p:cNvSpPr>
            <a:spLocks noGrp="1"/>
          </p:cNvSpPr>
          <p:nvPr>
            <p:ph type="pic" idx="18"/>
          </p:nvPr>
        </p:nvSpPr>
        <p:spPr>
          <a:xfrm>
            <a:off x="2738546" y="3486713"/>
            <a:ext cx="1817362" cy="1043854"/>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dirty="0"/>
          </a:p>
        </p:txBody>
      </p:sp>
      <p:sp>
        <p:nvSpPr>
          <p:cNvPr id="9" name="Picture Placeholder 2"/>
          <p:cNvSpPr>
            <a:spLocks noGrp="1"/>
          </p:cNvSpPr>
          <p:nvPr>
            <p:ph type="pic" idx="19"/>
          </p:nvPr>
        </p:nvSpPr>
        <p:spPr>
          <a:xfrm>
            <a:off x="4796054" y="3486713"/>
            <a:ext cx="1817362" cy="1043854"/>
          </a:xfrm>
          <a:prstGeom prst="rect">
            <a:avLst/>
          </a:pr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dirty="0"/>
          </a:p>
        </p:txBody>
      </p:sp>
      <p:sp>
        <p:nvSpPr>
          <p:cNvPr id="10" name="Picture Placeholder 2"/>
          <p:cNvSpPr>
            <a:spLocks noGrp="1"/>
          </p:cNvSpPr>
          <p:nvPr>
            <p:ph type="pic" idx="20"/>
          </p:nvPr>
        </p:nvSpPr>
        <p:spPr>
          <a:xfrm>
            <a:off x="6853563" y="3486713"/>
            <a:ext cx="1817362" cy="1043854"/>
          </a:xfrm>
          <a:custGeom>
            <a:avLst/>
            <a:gdLst>
              <a:gd name="connsiteX0" fmla="*/ 193310 w 1817362"/>
              <a:gd name="connsiteY0" fmla="*/ 0 h 1159838"/>
              <a:gd name="connsiteX1" fmla="*/ 1817362 w 1817362"/>
              <a:gd name="connsiteY1" fmla="*/ 0 h 1159838"/>
              <a:gd name="connsiteX2" fmla="*/ 1817362 w 1817362"/>
              <a:gd name="connsiteY2" fmla="*/ 0 h 1159838"/>
              <a:gd name="connsiteX3" fmla="*/ 1817362 w 1817362"/>
              <a:gd name="connsiteY3" fmla="*/ 966528 h 1159838"/>
              <a:gd name="connsiteX4" fmla="*/ 1624052 w 1817362"/>
              <a:gd name="connsiteY4" fmla="*/ 1159838 h 1159838"/>
              <a:gd name="connsiteX5" fmla="*/ 0 w 1817362"/>
              <a:gd name="connsiteY5" fmla="*/ 1159838 h 1159838"/>
              <a:gd name="connsiteX6" fmla="*/ 0 w 1817362"/>
              <a:gd name="connsiteY6" fmla="*/ 1159838 h 1159838"/>
              <a:gd name="connsiteX7" fmla="*/ 0 w 1817362"/>
              <a:gd name="connsiteY7" fmla="*/ 193310 h 1159838"/>
              <a:gd name="connsiteX8" fmla="*/ 193310 w 1817362"/>
              <a:gd name="connsiteY8" fmla="*/ 0 h 1159838"/>
              <a:gd name="connsiteX0" fmla="*/ 48189 w 1862741"/>
              <a:gd name="connsiteY0" fmla="*/ 0 h 1159838"/>
              <a:gd name="connsiteX1" fmla="*/ 1862741 w 1862741"/>
              <a:gd name="connsiteY1" fmla="*/ 0 h 1159838"/>
              <a:gd name="connsiteX2" fmla="*/ 1862741 w 1862741"/>
              <a:gd name="connsiteY2" fmla="*/ 0 h 1159838"/>
              <a:gd name="connsiteX3" fmla="*/ 1862741 w 1862741"/>
              <a:gd name="connsiteY3" fmla="*/ 966528 h 1159838"/>
              <a:gd name="connsiteX4" fmla="*/ 1669431 w 1862741"/>
              <a:gd name="connsiteY4" fmla="*/ 1159838 h 1159838"/>
              <a:gd name="connsiteX5" fmla="*/ 45379 w 1862741"/>
              <a:gd name="connsiteY5" fmla="*/ 1159838 h 1159838"/>
              <a:gd name="connsiteX6" fmla="*/ 45379 w 1862741"/>
              <a:gd name="connsiteY6" fmla="*/ 1159838 h 1159838"/>
              <a:gd name="connsiteX7" fmla="*/ 45379 w 1862741"/>
              <a:gd name="connsiteY7" fmla="*/ 193310 h 1159838"/>
              <a:gd name="connsiteX8" fmla="*/ 48189 w 1862741"/>
              <a:gd name="connsiteY8" fmla="*/ 0 h 1159838"/>
              <a:gd name="connsiteX0" fmla="*/ 2810 w 1817362"/>
              <a:gd name="connsiteY0" fmla="*/ 0 h 1159838"/>
              <a:gd name="connsiteX1" fmla="*/ 1817362 w 1817362"/>
              <a:gd name="connsiteY1" fmla="*/ 0 h 1159838"/>
              <a:gd name="connsiteX2" fmla="*/ 1817362 w 1817362"/>
              <a:gd name="connsiteY2" fmla="*/ 0 h 1159838"/>
              <a:gd name="connsiteX3" fmla="*/ 1817362 w 1817362"/>
              <a:gd name="connsiteY3" fmla="*/ 966528 h 1159838"/>
              <a:gd name="connsiteX4" fmla="*/ 1624052 w 1817362"/>
              <a:gd name="connsiteY4" fmla="*/ 1159838 h 1159838"/>
              <a:gd name="connsiteX5" fmla="*/ 0 w 1817362"/>
              <a:gd name="connsiteY5" fmla="*/ 1159838 h 1159838"/>
              <a:gd name="connsiteX6" fmla="*/ 0 w 1817362"/>
              <a:gd name="connsiteY6" fmla="*/ 1159838 h 1159838"/>
              <a:gd name="connsiteX7" fmla="*/ 0 w 1817362"/>
              <a:gd name="connsiteY7" fmla="*/ 193310 h 1159838"/>
              <a:gd name="connsiteX8" fmla="*/ 2810 w 1817362"/>
              <a:gd name="connsiteY8" fmla="*/ 0 h 1159838"/>
              <a:gd name="connsiteX0" fmla="*/ 758 w 1817691"/>
              <a:gd name="connsiteY0" fmla="*/ 0 h 1159838"/>
              <a:gd name="connsiteX1" fmla="*/ 1817691 w 1817691"/>
              <a:gd name="connsiteY1" fmla="*/ 0 h 1159838"/>
              <a:gd name="connsiteX2" fmla="*/ 1817691 w 1817691"/>
              <a:gd name="connsiteY2" fmla="*/ 0 h 1159838"/>
              <a:gd name="connsiteX3" fmla="*/ 1817691 w 1817691"/>
              <a:gd name="connsiteY3" fmla="*/ 966528 h 1159838"/>
              <a:gd name="connsiteX4" fmla="*/ 1624381 w 1817691"/>
              <a:gd name="connsiteY4" fmla="*/ 1159838 h 1159838"/>
              <a:gd name="connsiteX5" fmla="*/ 329 w 1817691"/>
              <a:gd name="connsiteY5" fmla="*/ 1159838 h 1159838"/>
              <a:gd name="connsiteX6" fmla="*/ 329 w 1817691"/>
              <a:gd name="connsiteY6" fmla="*/ 1159838 h 1159838"/>
              <a:gd name="connsiteX7" fmla="*/ 329 w 1817691"/>
              <a:gd name="connsiteY7" fmla="*/ 193310 h 1159838"/>
              <a:gd name="connsiteX8" fmla="*/ 758 w 1817691"/>
              <a:gd name="connsiteY8" fmla="*/ 0 h 1159838"/>
              <a:gd name="connsiteX0" fmla="*/ 429 w 1817362"/>
              <a:gd name="connsiteY0" fmla="*/ 0 h 1159838"/>
              <a:gd name="connsiteX1" fmla="*/ 1817362 w 1817362"/>
              <a:gd name="connsiteY1" fmla="*/ 0 h 1159838"/>
              <a:gd name="connsiteX2" fmla="*/ 1817362 w 1817362"/>
              <a:gd name="connsiteY2" fmla="*/ 0 h 1159838"/>
              <a:gd name="connsiteX3" fmla="*/ 1817362 w 1817362"/>
              <a:gd name="connsiteY3" fmla="*/ 966528 h 1159838"/>
              <a:gd name="connsiteX4" fmla="*/ 1624052 w 1817362"/>
              <a:gd name="connsiteY4" fmla="*/ 1159838 h 1159838"/>
              <a:gd name="connsiteX5" fmla="*/ 0 w 1817362"/>
              <a:gd name="connsiteY5" fmla="*/ 1159838 h 1159838"/>
              <a:gd name="connsiteX6" fmla="*/ 0 w 1817362"/>
              <a:gd name="connsiteY6" fmla="*/ 1159838 h 1159838"/>
              <a:gd name="connsiteX7" fmla="*/ 0 w 1817362"/>
              <a:gd name="connsiteY7" fmla="*/ 193310 h 1159838"/>
              <a:gd name="connsiteX8" fmla="*/ 429 w 1817362"/>
              <a:gd name="connsiteY8" fmla="*/ 0 h 115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362" h="1159838">
                <a:moveTo>
                  <a:pt x="429" y="0"/>
                </a:moveTo>
                <a:lnTo>
                  <a:pt x="1817362" y="0"/>
                </a:lnTo>
                <a:lnTo>
                  <a:pt x="1817362" y="0"/>
                </a:lnTo>
                <a:lnTo>
                  <a:pt x="1817362" y="966528"/>
                </a:lnTo>
                <a:cubicBezTo>
                  <a:pt x="1817362" y="1073290"/>
                  <a:pt x="1730814" y="1159838"/>
                  <a:pt x="1624052" y="1159838"/>
                </a:cubicBezTo>
                <a:lnTo>
                  <a:pt x="0" y="1159838"/>
                </a:lnTo>
                <a:lnTo>
                  <a:pt x="0" y="1159838"/>
                </a:lnTo>
                <a:lnTo>
                  <a:pt x="0" y="193310"/>
                </a:lnTo>
                <a:cubicBezTo>
                  <a:pt x="0" y="86548"/>
                  <a:pt x="214" y="96655"/>
                  <a:pt x="429" y="0"/>
                </a:cubicBezTo>
                <a:close/>
              </a:path>
            </a:pathLst>
          </a:custGeom>
          <a:solidFill>
            <a:schemeClr val="bg1">
              <a:lumMod val="85000"/>
            </a:schemeClr>
          </a:solidFill>
        </p:spPr>
        <p:txBody>
          <a:bodyPr/>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dirty="0"/>
          </a:p>
        </p:txBody>
      </p:sp>
      <p:sp>
        <p:nvSpPr>
          <p:cNvPr id="15" name="Content Placeholder 2">
            <a:extLst>
              <a:ext uri="{FF2B5EF4-FFF2-40B4-BE49-F238E27FC236}">
                <a16:creationId xmlns:a16="http://schemas.microsoft.com/office/drawing/2014/main" id="{FF3C8AE8-9A22-4552-A11B-E4992241F67D}"/>
              </a:ext>
            </a:extLst>
          </p:cNvPr>
          <p:cNvSpPr>
            <a:spLocks noGrp="1"/>
          </p:cNvSpPr>
          <p:nvPr>
            <p:ph idx="1"/>
          </p:nvPr>
        </p:nvSpPr>
        <p:spPr>
          <a:xfrm>
            <a:off x="792163" y="1029601"/>
            <a:ext cx="7773988" cy="231703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Placeholder 1">
            <a:extLst>
              <a:ext uri="{FF2B5EF4-FFF2-40B4-BE49-F238E27FC236}">
                <a16:creationId xmlns:a16="http://schemas.microsoft.com/office/drawing/2014/main" id="{23AE6EE9-7450-48E5-A2C7-941469C87B02}"/>
              </a:ext>
            </a:extLst>
          </p:cNvPr>
          <p:cNvSpPr>
            <a:spLocks noGrp="1"/>
          </p:cNvSpPr>
          <p:nvPr>
            <p:ph type="title"/>
          </p:nvPr>
        </p:nvSpPr>
        <p:spPr>
          <a:xfrm>
            <a:off x="792163" y="334800"/>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17417301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End Slide &quot;Print version&quo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7E72491-C6B8-438E-8125-087D84677824}"/>
              </a:ext>
            </a:extLst>
          </p:cNvPr>
          <p:cNvGrpSpPr/>
          <p:nvPr userDrawn="1"/>
        </p:nvGrpSpPr>
        <p:grpSpPr>
          <a:xfrm>
            <a:off x="-5460" y="4817"/>
            <a:ext cx="7459503" cy="5145120"/>
            <a:chOff x="1666973" y="1800"/>
            <a:chExt cx="7459503" cy="5716800"/>
          </a:xfrm>
        </p:grpSpPr>
        <p:sp>
          <p:nvSpPr>
            <p:cNvPr id="24" name="Freeform 24">
              <a:extLst>
                <a:ext uri="{FF2B5EF4-FFF2-40B4-BE49-F238E27FC236}">
                  <a16:creationId xmlns:a16="http://schemas.microsoft.com/office/drawing/2014/main" id="{2B15ABAD-A339-48AE-B35A-1E79FAB863B0}"/>
                </a:ext>
              </a:extLst>
            </p:cNvPr>
            <p:cNvSpPr>
              <a:spLocks noChangeAspect="1"/>
            </p:cNvSpPr>
            <p:nvPr userDrawn="1"/>
          </p:nvSpPr>
          <p:spPr bwMode="auto">
            <a:xfrm>
              <a:off x="1666973" y="1800"/>
              <a:ext cx="7459503" cy="5716800"/>
            </a:xfrm>
            <a:custGeom>
              <a:avLst/>
              <a:gdLst>
                <a:gd name="connsiteX0" fmla="*/ 5585169 w 7444315"/>
                <a:gd name="connsiteY0" fmla="*/ 0 h 5716800"/>
                <a:gd name="connsiteX1" fmla="*/ 7444315 w 7444315"/>
                <a:gd name="connsiteY1" fmla="*/ 0 h 5716800"/>
                <a:gd name="connsiteX2" fmla="*/ 5023705 w 7444315"/>
                <a:gd name="connsiteY2" fmla="*/ 3861096 h 5716800"/>
                <a:gd name="connsiteX3" fmla="*/ 5149768 w 7444315"/>
                <a:gd name="connsiteY3" fmla="*/ 4855770 h 5716800"/>
                <a:gd name="connsiteX4" fmla="*/ 4478283 w 7444315"/>
                <a:gd name="connsiteY4" fmla="*/ 2719531 h 5716800"/>
                <a:gd name="connsiteX5" fmla="*/ 5585169 w 7444315"/>
                <a:gd name="connsiteY5" fmla="*/ 0 h 5716800"/>
                <a:gd name="connsiteX6" fmla="*/ 0 w 7444315"/>
                <a:gd name="connsiteY6" fmla="*/ 0 h 5716800"/>
                <a:gd name="connsiteX7" fmla="*/ 5540757 w 7444315"/>
                <a:gd name="connsiteY7" fmla="*/ 0 h 5716800"/>
                <a:gd name="connsiteX8" fmla="*/ 3894280 w 7444315"/>
                <a:gd name="connsiteY8" fmla="*/ 3774330 h 5716800"/>
                <a:gd name="connsiteX9" fmla="*/ 4373780 w 7444315"/>
                <a:gd name="connsiteY9" fmla="*/ 5715000 h 5716800"/>
                <a:gd name="connsiteX10" fmla="*/ 5511871 w 7444315"/>
                <a:gd name="connsiteY10" fmla="*/ 5715000 h 5716800"/>
                <a:gd name="connsiteX11" fmla="*/ 5149768 w 7444315"/>
                <a:gd name="connsiteY11" fmla="*/ 4855770 h 5716800"/>
                <a:gd name="connsiteX12" fmla="*/ 5911744 w 7444315"/>
                <a:gd name="connsiteY12" fmla="*/ 5716800 h 5716800"/>
                <a:gd name="connsiteX13" fmla="*/ 1992846 w 7444315"/>
                <a:gd name="connsiteY13" fmla="*/ 5716800 h 5716800"/>
                <a:gd name="connsiteX14" fmla="*/ 0 w 7444315"/>
                <a:gd name="connsiteY14" fmla="*/ 0 h 5716800"/>
                <a:gd name="connsiteX0" fmla="*/ 5600357 w 7459503"/>
                <a:gd name="connsiteY0" fmla="*/ 0 h 5716800"/>
                <a:gd name="connsiteX1" fmla="*/ 7459503 w 7459503"/>
                <a:gd name="connsiteY1" fmla="*/ 0 h 5716800"/>
                <a:gd name="connsiteX2" fmla="*/ 5038893 w 7459503"/>
                <a:gd name="connsiteY2" fmla="*/ 3861096 h 5716800"/>
                <a:gd name="connsiteX3" fmla="*/ 5164956 w 7459503"/>
                <a:gd name="connsiteY3" fmla="*/ 4855770 h 5716800"/>
                <a:gd name="connsiteX4" fmla="*/ 4493471 w 7459503"/>
                <a:gd name="connsiteY4" fmla="*/ 2719531 h 5716800"/>
                <a:gd name="connsiteX5" fmla="*/ 5600357 w 7459503"/>
                <a:gd name="connsiteY5" fmla="*/ 0 h 5716800"/>
                <a:gd name="connsiteX6" fmla="*/ 15188 w 7459503"/>
                <a:gd name="connsiteY6" fmla="*/ 0 h 5716800"/>
                <a:gd name="connsiteX7" fmla="*/ 5555945 w 7459503"/>
                <a:gd name="connsiteY7" fmla="*/ 0 h 5716800"/>
                <a:gd name="connsiteX8" fmla="*/ 3909468 w 7459503"/>
                <a:gd name="connsiteY8" fmla="*/ 3774330 h 5716800"/>
                <a:gd name="connsiteX9" fmla="*/ 4388968 w 7459503"/>
                <a:gd name="connsiteY9" fmla="*/ 5715000 h 5716800"/>
                <a:gd name="connsiteX10" fmla="*/ 5527059 w 7459503"/>
                <a:gd name="connsiteY10" fmla="*/ 5715000 h 5716800"/>
                <a:gd name="connsiteX11" fmla="*/ 5164956 w 7459503"/>
                <a:gd name="connsiteY11" fmla="*/ 4855770 h 5716800"/>
                <a:gd name="connsiteX12" fmla="*/ 5926932 w 7459503"/>
                <a:gd name="connsiteY12" fmla="*/ 5716800 h 5716800"/>
                <a:gd name="connsiteX13" fmla="*/ 0 w 7459503"/>
                <a:gd name="connsiteY13" fmla="*/ 5713424 h 5716800"/>
                <a:gd name="connsiteX14" fmla="*/ 15188 w 7459503"/>
                <a:gd name="connsiteY14" fmla="*/ 0 h 5716800"/>
                <a:gd name="connsiteX0" fmla="*/ 5600357 w 7459503"/>
                <a:gd name="connsiteY0" fmla="*/ 0 h 5716800"/>
                <a:gd name="connsiteX1" fmla="*/ 7459503 w 7459503"/>
                <a:gd name="connsiteY1" fmla="*/ 0 h 5716800"/>
                <a:gd name="connsiteX2" fmla="*/ 5038893 w 7459503"/>
                <a:gd name="connsiteY2" fmla="*/ 3861096 h 5716800"/>
                <a:gd name="connsiteX3" fmla="*/ 5164956 w 7459503"/>
                <a:gd name="connsiteY3" fmla="*/ 4855770 h 5716800"/>
                <a:gd name="connsiteX4" fmla="*/ 4493471 w 7459503"/>
                <a:gd name="connsiteY4" fmla="*/ 2719531 h 5716800"/>
                <a:gd name="connsiteX5" fmla="*/ 5600357 w 7459503"/>
                <a:gd name="connsiteY5" fmla="*/ 0 h 5716800"/>
                <a:gd name="connsiteX6" fmla="*/ 12150 w 7459503"/>
                <a:gd name="connsiteY6" fmla="*/ 0 h 5716800"/>
                <a:gd name="connsiteX7" fmla="*/ 5555945 w 7459503"/>
                <a:gd name="connsiteY7" fmla="*/ 0 h 5716800"/>
                <a:gd name="connsiteX8" fmla="*/ 3909468 w 7459503"/>
                <a:gd name="connsiteY8" fmla="*/ 3774330 h 5716800"/>
                <a:gd name="connsiteX9" fmla="*/ 4388968 w 7459503"/>
                <a:gd name="connsiteY9" fmla="*/ 5715000 h 5716800"/>
                <a:gd name="connsiteX10" fmla="*/ 5527059 w 7459503"/>
                <a:gd name="connsiteY10" fmla="*/ 5715000 h 5716800"/>
                <a:gd name="connsiteX11" fmla="*/ 5164956 w 7459503"/>
                <a:gd name="connsiteY11" fmla="*/ 4855770 h 5716800"/>
                <a:gd name="connsiteX12" fmla="*/ 5926932 w 7459503"/>
                <a:gd name="connsiteY12" fmla="*/ 5716800 h 5716800"/>
                <a:gd name="connsiteX13" fmla="*/ 0 w 7459503"/>
                <a:gd name="connsiteY13" fmla="*/ 5713424 h 5716800"/>
                <a:gd name="connsiteX14" fmla="*/ 12150 w 7459503"/>
                <a:gd name="connsiteY14" fmla="*/ 0 h 57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59503" h="5716800">
                  <a:moveTo>
                    <a:pt x="5600357" y="0"/>
                  </a:moveTo>
                  <a:lnTo>
                    <a:pt x="7459503" y="0"/>
                  </a:lnTo>
                  <a:cubicBezTo>
                    <a:pt x="6052776" y="893692"/>
                    <a:pt x="5038893" y="2371609"/>
                    <a:pt x="5038893" y="3861096"/>
                  </a:cubicBezTo>
                  <a:cubicBezTo>
                    <a:pt x="5040361" y="4216660"/>
                    <a:pt x="5081338" y="4545354"/>
                    <a:pt x="5164956" y="4855770"/>
                  </a:cubicBezTo>
                  <a:cubicBezTo>
                    <a:pt x="4710408" y="4212189"/>
                    <a:pt x="4495464" y="3537377"/>
                    <a:pt x="4493471" y="2719531"/>
                  </a:cubicBezTo>
                  <a:cubicBezTo>
                    <a:pt x="4493471" y="1698260"/>
                    <a:pt x="4906747" y="757997"/>
                    <a:pt x="5600357" y="0"/>
                  </a:cubicBezTo>
                  <a:close/>
                  <a:moveTo>
                    <a:pt x="12150" y="0"/>
                  </a:moveTo>
                  <a:lnTo>
                    <a:pt x="5555945" y="0"/>
                  </a:lnTo>
                  <a:cubicBezTo>
                    <a:pt x="4527619" y="1020949"/>
                    <a:pt x="3906579" y="2371609"/>
                    <a:pt x="3909468" y="3774330"/>
                  </a:cubicBezTo>
                  <a:cubicBezTo>
                    <a:pt x="3909468" y="4508950"/>
                    <a:pt x="4013456" y="5084499"/>
                    <a:pt x="4388968" y="5715000"/>
                  </a:cubicBezTo>
                  <a:lnTo>
                    <a:pt x="5527059" y="5715000"/>
                  </a:lnTo>
                  <a:cubicBezTo>
                    <a:pt x="5365050" y="5440374"/>
                    <a:pt x="5244991" y="5156648"/>
                    <a:pt x="5164956" y="4855770"/>
                  </a:cubicBezTo>
                  <a:cubicBezTo>
                    <a:pt x="5369481" y="5145750"/>
                    <a:pt x="5622709" y="5429322"/>
                    <a:pt x="5926932" y="5716800"/>
                  </a:cubicBezTo>
                  <a:lnTo>
                    <a:pt x="0" y="5713424"/>
                  </a:lnTo>
                  <a:cubicBezTo>
                    <a:pt x="0" y="5713424"/>
                    <a:pt x="12150" y="5716800"/>
                    <a:pt x="12150" y="0"/>
                  </a:cubicBezTo>
                  <a:close/>
                </a:path>
              </a:pathLst>
            </a:custGeom>
            <a:solidFill>
              <a:srgbClr val="ECF7FE"/>
            </a:solidFill>
            <a:ln w="3175">
              <a:noFill/>
              <a:round/>
              <a:headEnd/>
              <a:tailEnd/>
            </a:ln>
          </p:spPr>
          <p:txBody>
            <a:bodyPr vert="horz" wrap="square" lIns="91440" tIns="45720" rIns="91440" bIns="45720" numCol="1" anchor="t" anchorCtr="0" compatLnSpc="1">
              <a:prstTxWarp prst="textNoShape">
                <a:avLst/>
              </a:prstTxWarp>
            </a:bodyPr>
            <a:lstStyle/>
            <a:p>
              <a:endParaRPr lang="nl-NL" dirty="0">
                <a:solidFill>
                  <a:prstClr val="black"/>
                </a:solidFill>
              </a:endParaRPr>
            </a:p>
          </p:txBody>
        </p:sp>
        <p:sp>
          <p:nvSpPr>
            <p:cNvPr id="25" name="Freeform 25">
              <a:extLst>
                <a:ext uri="{FF2B5EF4-FFF2-40B4-BE49-F238E27FC236}">
                  <a16:creationId xmlns:a16="http://schemas.microsoft.com/office/drawing/2014/main" id="{67755616-E2DE-4B60-8F25-42E91BFD3D22}"/>
                </a:ext>
              </a:extLst>
            </p:cNvPr>
            <p:cNvSpPr>
              <a:spLocks noChangeAspect="1"/>
            </p:cNvSpPr>
            <p:nvPr userDrawn="1"/>
          </p:nvSpPr>
          <p:spPr bwMode="auto">
            <a:xfrm>
              <a:off x="5576555" y="1800"/>
              <a:ext cx="1690900" cy="5715000"/>
            </a:xfrm>
            <a:custGeom>
              <a:avLst/>
              <a:gdLst/>
              <a:ahLst/>
              <a:cxnLst/>
              <a:rect l="l" t="t" r="r" b="b"/>
              <a:pathLst>
                <a:path w="1690900" h="5715000">
                  <a:moveTo>
                    <a:pt x="1646488" y="0"/>
                  </a:moveTo>
                  <a:lnTo>
                    <a:pt x="1650206" y="0"/>
                  </a:lnTo>
                  <a:lnTo>
                    <a:pt x="1659036" y="0"/>
                  </a:lnTo>
                  <a:lnTo>
                    <a:pt x="1676231" y="0"/>
                  </a:lnTo>
                  <a:lnTo>
                    <a:pt x="1690900" y="0"/>
                  </a:lnTo>
                  <a:cubicBezTo>
                    <a:pt x="997290" y="757997"/>
                    <a:pt x="584014" y="1698260"/>
                    <a:pt x="584014" y="2719531"/>
                  </a:cubicBezTo>
                  <a:cubicBezTo>
                    <a:pt x="586007" y="3537378"/>
                    <a:pt x="800951" y="4212189"/>
                    <a:pt x="1255499" y="4855770"/>
                  </a:cubicBezTo>
                  <a:cubicBezTo>
                    <a:pt x="1335534" y="5156648"/>
                    <a:pt x="1455593" y="5440374"/>
                    <a:pt x="1617602" y="5715000"/>
                  </a:cubicBezTo>
                  <a:cubicBezTo>
                    <a:pt x="1617602" y="5715000"/>
                    <a:pt x="1617602" y="5715000"/>
                    <a:pt x="479511" y="5715000"/>
                  </a:cubicBezTo>
                  <a:cubicBezTo>
                    <a:pt x="103999" y="5084499"/>
                    <a:pt x="11" y="4508950"/>
                    <a:pt x="11" y="3774330"/>
                  </a:cubicBezTo>
                  <a:cubicBezTo>
                    <a:pt x="-2878" y="2371609"/>
                    <a:pt x="618162" y="1020949"/>
                    <a:pt x="1646488" y="0"/>
                  </a:cubicBezTo>
                  <a:close/>
                </a:path>
              </a:pathLst>
            </a:custGeom>
            <a:solidFill>
              <a:srgbClr val="CEEAF9"/>
            </a:solidFill>
            <a:ln w="3175">
              <a:noFill/>
              <a:round/>
              <a:headEnd/>
              <a:tailEnd/>
            </a:ln>
          </p:spPr>
          <p:txBody>
            <a:bodyPr vert="horz" wrap="square" lIns="91440" tIns="45720" rIns="91440" bIns="45720" numCol="1" anchor="t" anchorCtr="0" compatLnSpc="1">
              <a:prstTxWarp prst="textNoShape">
                <a:avLst/>
              </a:prstTxWarp>
            </a:bodyPr>
            <a:lstStyle/>
            <a:p>
              <a:endParaRPr lang="nl-NL" dirty="0">
                <a:solidFill>
                  <a:prstClr val="black"/>
                </a:solidFill>
              </a:endParaRPr>
            </a:p>
          </p:txBody>
        </p:sp>
      </p:grpSp>
      <p:sp>
        <p:nvSpPr>
          <p:cNvPr id="26" name="TextBox 25">
            <a:extLst>
              <a:ext uri="{FF2B5EF4-FFF2-40B4-BE49-F238E27FC236}">
                <a16:creationId xmlns:a16="http://schemas.microsoft.com/office/drawing/2014/main" id="{5A4174D7-339C-464B-96C5-77716E329CED}"/>
              </a:ext>
            </a:extLst>
          </p:cNvPr>
          <p:cNvSpPr txBox="1"/>
          <p:nvPr userDrawn="1"/>
        </p:nvSpPr>
        <p:spPr bwMode="gray">
          <a:xfrm>
            <a:off x="675824" y="3050258"/>
            <a:ext cx="8182425" cy="369332"/>
          </a:xfrm>
          <a:prstGeom prst="rect">
            <a:avLst/>
          </a:prstGeom>
          <a:noFill/>
        </p:spPr>
        <p:txBody>
          <a:bodyPr wrap="square" rtlCol="0">
            <a:spAutoFit/>
          </a:bodyPr>
          <a:lstStyle/>
          <a:p>
            <a:r>
              <a:rPr lang="nl-NL" noProof="0" dirty="0">
                <a:solidFill>
                  <a:schemeClr val="tx2"/>
                </a:solidFill>
              </a:rPr>
              <a:t>Koninklijke NLR – Nederlands Lucht- en Ruimtevaartcentrum</a:t>
            </a:r>
            <a:endParaRPr lang="en-GB" noProof="0" dirty="0">
              <a:solidFill>
                <a:schemeClr val="tx2"/>
              </a:solidFill>
            </a:endParaRPr>
          </a:p>
        </p:txBody>
      </p:sp>
      <p:sp>
        <p:nvSpPr>
          <p:cNvPr id="27" name="TextBox 26">
            <a:extLst>
              <a:ext uri="{FF2B5EF4-FFF2-40B4-BE49-F238E27FC236}">
                <a16:creationId xmlns:a16="http://schemas.microsoft.com/office/drawing/2014/main" id="{DDADF6A1-09D6-4B3C-AC3A-A1360AA509E4}"/>
              </a:ext>
            </a:extLst>
          </p:cNvPr>
          <p:cNvSpPr txBox="1"/>
          <p:nvPr userDrawn="1"/>
        </p:nvSpPr>
        <p:spPr bwMode="gray">
          <a:xfrm>
            <a:off x="712933" y="3565903"/>
            <a:ext cx="2070090" cy="1015649"/>
          </a:xfrm>
          <a:prstGeom prst="rect">
            <a:avLst/>
          </a:prstGeom>
          <a:noFill/>
        </p:spPr>
        <p:txBody>
          <a:bodyPr wrap="none" lIns="91426" tIns="45713" rIns="91426" bIns="45713" rtlCol="0">
            <a:spAutoFit/>
          </a:bodyPr>
          <a:lstStyle/>
          <a:p>
            <a:pPr defTabSz="180000">
              <a:lnSpc>
                <a:spcPct val="100000"/>
              </a:lnSpc>
            </a:pPr>
            <a:r>
              <a:rPr lang="en-GB" sz="1000" b="0" noProof="0" dirty="0">
                <a:solidFill>
                  <a:schemeClr val="tx2"/>
                </a:solidFill>
              </a:rPr>
              <a:t>Anthony Fokkerweg 2</a:t>
            </a:r>
          </a:p>
          <a:p>
            <a:pPr defTabSz="180000">
              <a:lnSpc>
                <a:spcPct val="100000"/>
              </a:lnSpc>
            </a:pPr>
            <a:r>
              <a:rPr lang="en-GB" sz="1000" b="0" noProof="0" dirty="0">
                <a:solidFill>
                  <a:schemeClr val="tx2"/>
                </a:solidFill>
              </a:rPr>
              <a:t>1059 CM Amsterdam</a:t>
            </a:r>
          </a:p>
          <a:p>
            <a:pPr defTabSz="180000">
              <a:lnSpc>
                <a:spcPct val="100000"/>
              </a:lnSpc>
            </a:pPr>
            <a:r>
              <a:rPr lang="en-GB" sz="1000" b="0" noProof="0" dirty="0">
                <a:solidFill>
                  <a:schemeClr val="tx2"/>
                </a:solidFill>
              </a:rPr>
              <a:t>The</a:t>
            </a:r>
            <a:r>
              <a:rPr lang="en-GB" sz="1000" b="0" baseline="0" noProof="0" dirty="0">
                <a:solidFill>
                  <a:schemeClr val="tx2"/>
                </a:solidFill>
              </a:rPr>
              <a:t> Netherlands</a:t>
            </a:r>
            <a:endParaRPr lang="en-GB" sz="1000" b="0" noProof="0" dirty="0">
              <a:solidFill>
                <a:schemeClr val="tx2"/>
              </a:solidFill>
            </a:endParaRPr>
          </a:p>
          <a:p>
            <a:pPr defTabSz="180000">
              <a:lnSpc>
                <a:spcPct val="100000"/>
              </a:lnSpc>
            </a:pPr>
            <a:r>
              <a:rPr lang="en-GB" sz="1000" b="0" noProof="0" dirty="0">
                <a:solidFill>
                  <a:schemeClr val="tx2"/>
                </a:solidFill>
              </a:rPr>
              <a:t>	+31 88 511 31 13 </a:t>
            </a:r>
          </a:p>
          <a:p>
            <a:pPr defTabSz="180000">
              <a:lnSpc>
                <a:spcPct val="100000"/>
              </a:lnSpc>
            </a:pPr>
            <a:r>
              <a:rPr lang="en-GB" sz="1000" b="0" noProof="0" dirty="0">
                <a:solidFill>
                  <a:schemeClr val="tx2"/>
                </a:solidFill>
              </a:rPr>
              <a:t> </a:t>
            </a:r>
          </a:p>
          <a:p>
            <a:pPr defTabSz="180000">
              <a:lnSpc>
                <a:spcPct val="100000"/>
              </a:lnSpc>
            </a:pPr>
            <a:r>
              <a:rPr lang="en-GB" sz="1000" b="0" noProof="0" dirty="0">
                <a:solidFill>
                  <a:schemeClr val="tx2"/>
                </a:solidFill>
              </a:rPr>
              <a:t>	info@nlr.nl 		  www.nlr.org</a:t>
            </a:r>
          </a:p>
        </p:txBody>
      </p:sp>
      <p:sp>
        <p:nvSpPr>
          <p:cNvPr id="28" name="TextBox 27">
            <a:extLst>
              <a:ext uri="{FF2B5EF4-FFF2-40B4-BE49-F238E27FC236}">
                <a16:creationId xmlns:a16="http://schemas.microsoft.com/office/drawing/2014/main" id="{29D44839-6CD9-48F1-B757-C3FC3D1446E5}"/>
              </a:ext>
            </a:extLst>
          </p:cNvPr>
          <p:cNvSpPr txBox="1"/>
          <p:nvPr userDrawn="1"/>
        </p:nvSpPr>
        <p:spPr bwMode="gray">
          <a:xfrm>
            <a:off x="3137843" y="3565903"/>
            <a:ext cx="1419271" cy="707872"/>
          </a:xfrm>
          <a:prstGeom prst="rect">
            <a:avLst/>
          </a:prstGeom>
          <a:noFill/>
        </p:spPr>
        <p:txBody>
          <a:bodyPr wrap="none" lIns="91426" tIns="45713" rIns="91426" bIns="45713" rtlCol="0">
            <a:spAutoFit/>
          </a:bodyPr>
          <a:lstStyle/>
          <a:p>
            <a:pPr defTabSz="180000">
              <a:lnSpc>
                <a:spcPct val="100000"/>
              </a:lnSpc>
            </a:pPr>
            <a:r>
              <a:rPr lang="en-GB" sz="1000" b="0" noProof="0" dirty="0">
                <a:solidFill>
                  <a:schemeClr val="tx2"/>
                </a:solidFill>
              </a:rPr>
              <a:t>Voorsterweg 31</a:t>
            </a:r>
          </a:p>
          <a:p>
            <a:pPr defTabSz="180000">
              <a:lnSpc>
                <a:spcPct val="100000"/>
              </a:lnSpc>
            </a:pPr>
            <a:r>
              <a:rPr lang="en-GB" sz="1000" b="0" noProof="0" dirty="0">
                <a:solidFill>
                  <a:schemeClr val="tx2"/>
                </a:solidFill>
              </a:rPr>
              <a:t>8316 PR Marknesse</a:t>
            </a:r>
          </a:p>
          <a:p>
            <a:pPr marL="0" marR="0" indent="0" algn="l" defTabSz="180000" rtl="0" eaLnBrk="1" fontAlgn="auto" latinLnBrk="0" hangingPunct="1">
              <a:lnSpc>
                <a:spcPct val="100000"/>
              </a:lnSpc>
              <a:spcBef>
                <a:spcPts val="0"/>
              </a:spcBef>
              <a:spcAft>
                <a:spcPts val="0"/>
              </a:spcAft>
              <a:buClrTx/>
              <a:buSzTx/>
              <a:buFontTx/>
              <a:buNone/>
              <a:tabLst/>
              <a:defRPr/>
            </a:pPr>
            <a:r>
              <a:rPr lang="en-GB" sz="1000" b="0" noProof="0" dirty="0">
                <a:solidFill>
                  <a:schemeClr val="tx2"/>
                </a:solidFill>
              </a:rPr>
              <a:t>The</a:t>
            </a:r>
            <a:r>
              <a:rPr lang="en-GB" sz="1000" b="0" baseline="0" noProof="0" dirty="0">
                <a:solidFill>
                  <a:schemeClr val="tx2"/>
                </a:solidFill>
              </a:rPr>
              <a:t> Netherlands</a:t>
            </a:r>
          </a:p>
          <a:p>
            <a:pPr defTabSz="180000">
              <a:lnSpc>
                <a:spcPct val="100000"/>
              </a:lnSpc>
            </a:pPr>
            <a:r>
              <a:rPr lang="en-GB" sz="1000" b="0" noProof="0" dirty="0">
                <a:solidFill>
                  <a:schemeClr val="tx2"/>
                </a:solidFill>
              </a:rPr>
              <a:t>	+31 88 511 44 44 </a:t>
            </a:r>
          </a:p>
        </p:txBody>
      </p:sp>
      <p:cxnSp>
        <p:nvCxnSpPr>
          <p:cNvPr id="29" name="Straight Connector 28">
            <a:extLst>
              <a:ext uri="{FF2B5EF4-FFF2-40B4-BE49-F238E27FC236}">
                <a16:creationId xmlns:a16="http://schemas.microsoft.com/office/drawing/2014/main" id="{AB4C0D4E-1070-46C4-8AB9-F4348E921F90}"/>
              </a:ext>
            </a:extLst>
          </p:cNvPr>
          <p:cNvCxnSpPr>
            <a:cxnSpLocks/>
          </p:cNvCxnSpPr>
          <p:nvPr userDrawn="1"/>
        </p:nvCxnSpPr>
        <p:spPr bwMode="gray">
          <a:xfrm>
            <a:off x="3004953" y="3631496"/>
            <a:ext cx="0" cy="68844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C2FD011D-3EAB-46B5-ACE9-1C37FCF0D5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57435" y="4381055"/>
            <a:ext cx="133350" cy="133350"/>
          </a:xfrm>
          <a:prstGeom prst="rect">
            <a:avLst/>
          </a:prstGeom>
        </p:spPr>
      </p:pic>
      <p:pic>
        <p:nvPicPr>
          <p:cNvPr id="31" name="Graphic 30">
            <a:extLst>
              <a:ext uri="{FF2B5EF4-FFF2-40B4-BE49-F238E27FC236}">
                <a16:creationId xmlns:a16="http://schemas.microsoft.com/office/drawing/2014/main" id="{36E7AA66-408F-460E-B43B-48F0A00FD3B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281" y="4407725"/>
            <a:ext cx="120015" cy="80010"/>
          </a:xfrm>
          <a:prstGeom prst="rect">
            <a:avLst/>
          </a:prstGeom>
        </p:spPr>
      </p:pic>
      <p:pic>
        <p:nvPicPr>
          <p:cNvPr id="32" name="Graphic 31">
            <a:extLst>
              <a:ext uri="{FF2B5EF4-FFF2-40B4-BE49-F238E27FC236}">
                <a16:creationId xmlns:a16="http://schemas.microsoft.com/office/drawing/2014/main" id="{903B40F3-F40C-41A6-84B7-B5723D25DA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3948" y="4096594"/>
            <a:ext cx="106680" cy="106680"/>
          </a:xfrm>
          <a:prstGeom prst="rect">
            <a:avLst/>
          </a:prstGeom>
        </p:spPr>
      </p:pic>
      <p:grpSp>
        <p:nvGrpSpPr>
          <p:cNvPr id="36" name="Group 35">
            <a:extLst>
              <a:ext uri="{FF2B5EF4-FFF2-40B4-BE49-F238E27FC236}">
                <a16:creationId xmlns:a16="http://schemas.microsoft.com/office/drawing/2014/main" id="{8B2168CE-4855-40F1-8E6B-736CD550E865}"/>
              </a:ext>
            </a:extLst>
          </p:cNvPr>
          <p:cNvGrpSpPr/>
          <p:nvPr userDrawn="1"/>
        </p:nvGrpSpPr>
        <p:grpSpPr>
          <a:xfrm>
            <a:off x="494034" y="329048"/>
            <a:ext cx="3322765" cy="1826989"/>
            <a:chOff x="2736110" y="828575"/>
            <a:chExt cx="3674092" cy="2020163"/>
          </a:xfrm>
        </p:grpSpPr>
        <p:grpSp>
          <p:nvGrpSpPr>
            <p:cNvPr id="37" name="Graphic 3">
              <a:extLst>
                <a:ext uri="{FF2B5EF4-FFF2-40B4-BE49-F238E27FC236}">
                  <a16:creationId xmlns:a16="http://schemas.microsoft.com/office/drawing/2014/main" id="{122B81E5-DE3F-43F3-8391-9CA1DD110B5D}"/>
                </a:ext>
              </a:extLst>
            </p:cNvPr>
            <p:cNvGrpSpPr/>
            <p:nvPr/>
          </p:nvGrpSpPr>
          <p:grpSpPr>
            <a:xfrm>
              <a:off x="2736110" y="828575"/>
              <a:ext cx="1537413" cy="2020163"/>
              <a:chOff x="2736110" y="828575"/>
              <a:chExt cx="1537413" cy="2020163"/>
            </a:xfrm>
          </p:grpSpPr>
          <p:sp>
            <p:nvSpPr>
              <p:cNvPr id="72" name="Freeform: Shape 71">
                <a:extLst>
                  <a:ext uri="{FF2B5EF4-FFF2-40B4-BE49-F238E27FC236}">
                    <a16:creationId xmlns:a16="http://schemas.microsoft.com/office/drawing/2014/main" id="{C37969D4-9B18-4151-9601-F3CD680C854B}"/>
                  </a:ext>
                </a:extLst>
              </p:cNvPr>
              <p:cNvSpPr/>
              <p:nvPr/>
            </p:nvSpPr>
            <p:spPr>
              <a:xfrm>
                <a:off x="3676715" y="828575"/>
                <a:ext cx="416685" cy="322774"/>
              </a:xfrm>
              <a:custGeom>
                <a:avLst/>
                <a:gdLst>
                  <a:gd name="connsiteX0" fmla="*/ 30470 w 416685"/>
                  <a:gd name="connsiteY0" fmla="*/ 159013 h 322774"/>
                  <a:gd name="connsiteX1" fmla="*/ 88124 w 416685"/>
                  <a:gd name="connsiteY1" fmla="*/ 208461 h 322774"/>
                  <a:gd name="connsiteX2" fmla="*/ 94121 w 416685"/>
                  <a:gd name="connsiteY2" fmla="*/ 286210 h 322774"/>
                  <a:gd name="connsiteX3" fmla="*/ 117477 w 416685"/>
                  <a:gd name="connsiteY3" fmla="*/ 321350 h 322774"/>
                  <a:gd name="connsiteX4" fmla="*/ 123790 w 416685"/>
                  <a:gd name="connsiteY4" fmla="*/ 321140 h 322774"/>
                  <a:gd name="connsiteX5" fmla="*/ 185337 w 416685"/>
                  <a:gd name="connsiteY5" fmla="*/ 202149 h 322774"/>
                  <a:gd name="connsiteX6" fmla="*/ 384181 w 416685"/>
                  <a:gd name="connsiteY6" fmla="*/ 59907 h 322774"/>
                  <a:gd name="connsiteX7" fmla="*/ 415744 w 416685"/>
                  <a:gd name="connsiteY7" fmla="*/ 4567 h 322774"/>
                  <a:gd name="connsiteX8" fmla="*/ 349883 w 416685"/>
                  <a:gd name="connsiteY8" fmla="*/ 13510 h 322774"/>
                  <a:gd name="connsiteX9" fmla="*/ 134100 w 416685"/>
                  <a:gd name="connsiteY9" fmla="*/ 125136 h 322774"/>
                  <a:gd name="connsiteX10" fmla="*/ 3221 w 416685"/>
                  <a:gd name="connsiteY10" fmla="*/ 135236 h 322774"/>
                  <a:gd name="connsiteX11" fmla="*/ 1958 w 416685"/>
                  <a:gd name="connsiteY11" fmla="*/ 142706 h 322774"/>
                  <a:gd name="connsiteX12" fmla="*/ 20791 w 416685"/>
                  <a:gd name="connsiteY12" fmla="*/ 173216 h 322774"/>
                  <a:gd name="connsiteX13" fmla="*/ 30575 w 416685"/>
                  <a:gd name="connsiteY13" fmla="*/ 159013 h 3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685" h="322774">
                    <a:moveTo>
                      <a:pt x="30470" y="159013"/>
                    </a:moveTo>
                    <a:cubicBezTo>
                      <a:pt x="46462" y="149229"/>
                      <a:pt x="72238" y="171323"/>
                      <a:pt x="88124" y="208461"/>
                    </a:cubicBezTo>
                    <a:cubicBezTo>
                      <a:pt x="101486" y="239393"/>
                      <a:pt x="103380" y="271271"/>
                      <a:pt x="94121" y="286210"/>
                    </a:cubicBezTo>
                    <a:cubicBezTo>
                      <a:pt x="94121" y="286210"/>
                      <a:pt x="116636" y="320614"/>
                      <a:pt x="117477" y="321350"/>
                    </a:cubicBezTo>
                    <a:cubicBezTo>
                      <a:pt x="118214" y="322192"/>
                      <a:pt x="121896" y="324191"/>
                      <a:pt x="123790" y="321140"/>
                    </a:cubicBezTo>
                    <a:cubicBezTo>
                      <a:pt x="125578" y="317983"/>
                      <a:pt x="185337" y="202149"/>
                      <a:pt x="185337" y="202149"/>
                    </a:cubicBezTo>
                    <a:cubicBezTo>
                      <a:pt x="185337" y="202149"/>
                      <a:pt x="370714" y="72847"/>
                      <a:pt x="384181" y="59907"/>
                    </a:cubicBezTo>
                    <a:cubicBezTo>
                      <a:pt x="397648" y="46966"/>
                      <a:pt x="421741" y="16456"/>
                      <a:pt x="415744" y="4567"/>
                    </a:cubicBezTo>
                    <a:cubicBezTo>
                      <a:pt x="408590" y="-9531"/>
                      <a:pt x="349883" y="13510"/>
                      <a:pt x="349883" y="13510"/>
                    </a:cubicBezTo>
                    <a:lnTo>
                      <a:pt x="134100" y="125136"/>
                    </a:lnTo>
                    <a:cubicBezTo>
                      <a:pt x="134100" y="125136"/>
                      <a:pt x="9428" y="134500"/>
                      <a:pt x="3221" y="135236"/>
                    </a:cubicBezTo>
                    <a:cubicBezTo>
                      <a:pt x="-3197" y="135973"/>
                      <a:pt x="1958" y="142706"/>
                      <a:pt x="1958" y="142706"/>
                    </a:cubicBezTo>
                    <a:lnTo>
                      <a:pt x="20791" y="173216"/>
                    </a:lnTo>
                    <a:cubicBezTo>
                      <a:pt x="22790" y="166694"/>
                      <a:pt x="26051" y="161644"/>
                      <a:pt x="30575" y="159013"/>
                    </a:cubicBezTo>
                  </a:path>
                </a:pathLst>
              </a:custGeom>
              <a:solidFill>
                <a:srgbClr val="004C7D"/>
              </a:solidFill>
              <a:ln w="10508"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0EA12E70-334B-4453-918A-0D63616E9FC0}"/>
                  </a:ext>
                </a:extLst>
              </p:cNvPr>
              <p:cNvSpPr/>
              <p:nvPr/>
            </p:nvSpPr>
            <p:spPr>
              <a:xfrm>
                <a:off x="3680355" y="1027254"/>
                <a:ext cx="53750" cy="90721"/>
              </a:xfrm>
              <a:custGeom>
                <a:avLst/>
                <a:gdLst>
                  <a:gd name="connsiteX0" fmla="*/ 46715 w 53750"/>
                  <a:gd name="connsiteY0" fmla="*/ 33243 h 90721"/>
                  <a:gd name="connsiteX1" fmla="*/ 8735 w 53750"/>
                  <a:gd name="connsiteY1" fmla="*/ 1681 h 90721"/>
                  <a:gd name="connsiteX2" fmla="*/ 6946 w 53750"/>
                  <a:gd name="connsiteY2" fmla="*/ 57441 h 90721"/>
                  <a:gd name="connsiteX3" fmla="*/ 45032 w 53750"/>
                  <a:gd name="connsiteY3" fmla="*/ 89004 h 90721"/>
                  <a:gd name="connsiteX4" fmla="*/ 46715 w 53750"/>
                  <a:gd name="connsiteY4" fmla="*/ 33243 h 90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50" h="90721">
                    <a:moveTo>
                      <a:pt x="46715" y="33243"/>
                    </a:moveTo>
                    <a:cubicBezTo>
                      <a:pt x="36615" y="9045"/>
                      <a:pt x="19571" y="-5053"/>
                      <a:pt x="8735" y="1681"/>
                    </a:cubicBezTo>
                    <a:cubicBezTo>
                      <a:pt x="-2207" y="8309"/>
                      <a:pt x="-2943" y="33348"/>
                      <a:pt x="6946" y="57441"/>
                    </a:cubicBezTo>
                    <a:cubicBezTo>
                      <a:pt x="17046" y="81639"/>
                      <a:pt x="34090" y="95842"/>
                      <a:pt x="45032" y="89004"/>
                    </a:cubicBezTo>
                    <a:cubicBezTo>
                      <a:pt x="55973" y="82376"/>
                      <a:pt x="56710" y="57231"/>
                      <a:pt x="46715" y="33243"/>
                    </a:cubicBezTo>
                  </a:path>
                </a:pathLst>
              </a:custGeom>
              <a:solidFill>
                <a:srgbClr val="004C7D"/>
              </a:solidFill>
              <a:ln w="10508" cap="flat">
                <a:noFill/>
                <a:prstDash val="solid"/>
                <a:miter/>
              </a:ln>
            </p:spPr>
            <p:txBody>
              <a:bodyPr rtlCol="0" anchor="ctr"/>
              <a:lstStyle/>
              <a:p>
                <a:endParaRPr lang="nl-NL"/>
              </a:p>
            </p:txBody>
          </p:sp>
          <p:sp>
            <p:nvSpPr>
              <p:cNvPr id="74" name="Freeform: Shape 73">
                <a:extLst>
                  <a:ext uri="{FF2B5EF4-FFF2-40B4-BE49-F238E27FC236}">
                    <a16:creationId xmlns:a16="http://schemas.microsoft.com/office/drawing/2014/main" id="{49FD9D91-B345-430C-8E49-E8A8A2F56A3A}"/>
                  </a:ext>
                </a:extLst>
              </p:cNvPr>
              <p:cNvSpPr/>
              <p:nvPr/>
            </p:nvSpPr>
            <p:spPr>
              <a:xfrm>
                <a:off x="2887062" y="2460997"/>
                <a:ext cx="526052" cy="387740"/>
              </a:xfrm>
              <a:custGeom>
                <a:avLst/>
                <a:gdLst>
                  <a:gd name="connsiteX0" fmla="*/ 522593 w 526052"/>
                  <a:gd name="connsiteY0" fmla="*/ 285362 h 387740"/>
                  <a:gd name="connsiteX1" fmla="*/ 280929 w 526052"/>
                  <a:gd name="connsiteY1" fmla="*/ 256430 h 387740"/>
                  <a:gd name="connsiteX2" fmla="*/ 280403 w 526052"/>
                  <a:gd name="connsiteY2" fmla="*/ 254326 h 387740"/>
                  <a:gd name="connsiteX3" fmla="*/ 392135 w 526052"/>
                  <a:gd name="connsiteY3" fmla="*/ 169738 h 387740"/>
                  <a:gd name="connsiteX4" fmla="*/ 393187 w 526052"/>
                  <a:gd name="connsiteY4" fmla="*/ 169422 h 387740"/>
                  <a:gd name="connsiteX5" fmla="*/ 467254 w 526052"/>
                  <a:gd name="connsiteY5" fmla="*/ 170369 h 387740"/>
                  <a:gd name="connsiteX6" fmla="*/ 473882 w 526052"/>
                  <a:gd name="connsiteY6" fmla="*/ 169107 h 387740"/>
                  <a:gd name="connsiteX7" fmla="*/ 489453 w 526052"/>
                  <a:gd name="connsiteY7" fmla="*/ 161532 h 387740"/>
                  <a:gd name="connsiteX8" fmla="*/ 489558 w 526052"/>
                  <a:gd name="connsiteY8" fmla="*/ 159322 h 387740"/>
                  <a:gd name="connsiteX9" fmla="*/ 417490 w 526052"/>
                  <a:gd name="connsiteY9" fmla="*/ 135019 h 387740"/>
                  <a:gd name="connsiteX10" fmla="*/ 415807 w 526052"/>
                  <a:gd name="connsiteY10" fmla="*/ 132494 h 387740"/>
                  <a:gd name="connsiteX11" fmla="*/ 415807 w 526052"/>
                  <a:gd name="connsiteY11" fmla="*/ 1825 h 387740"/>
                  <a:gd name="connsiteX12" fmla="*/ 411598 w 526052"/>
                  <a:gd name="connsiteY12" fmla="*/ 668 h 387740"/>
                  <a:gd name="connsiteX13" fmla="*/ 393923 w 526052"/>
                  <a:gd name="connsiteY13" fmla="*/ 9716 h 387740"/>
                  <a:gd name="connsiteX14" fmla="*/ 391504 w 526052"/>
                  <a:gd name="connsiteY14" fmla="*/ 12451 h 387740"/>
                  <a:gd name="connsiteX15" fmla="*/ 358573 w 526052"/>
                  <a:gd name="connsiteY15" fmla="*/ 115661 h 387740"/>
                  <a:gd name="connsiteX16" fmla="*/ 358047 w 526052"/>
                  <a:gd name="connsiteY16" fmla="*/ 115976 h 387740"/>
                  <a:gd name="connsiteX17" fmla="*/ 324801 w 526052"/>
                  <a:gd name="connsiteY17" fmla="*/ 105456 h 387740"/>
                  <a:gd name="connsiteX18" fmla="*/ 320909 w 526052"/>
                  <a:gd name="connsiteY18" fmla="*/ 105561 h 387740"/>
                  <a:gd name="connsiteX19" fmla="*/ 304917 w 526052"/>
                  <a:gd name="connsiteY19" fmla="*/ 113136 h 387740"/>
                  <a:gd name="connsiteX20" fmla="*/ 304286 w 526052"/>
                  <a:gd name="connsiteY20" fmla="*/ 115556 h 387740"/>
                  <a:gd name="connsiteX21" fmla="*/ 336479 w 526052"/>
                  <a:gd name="connsiteY21" fmla="*/ 150800 h 387740"/>
                  <a:gd name="connsiteX22" fmla="*/ 336164 w 526052"/>
                  <a:gd name="connsiteY22" fmla="*/ 152063 h 387740"/>
                  <a:gd name="connsiteX23" fmla="*/ 192344 w 526052"/>
                  <a:gd name="connsiteY23" fmla="*/ 226445 h 387740"/>
                  <a:gd name="connsiteX24" fmla="*/ 190555 w 526052"/>
                  <a:gd name="connsiteY24" fmla="*/ 226445 h 387740"/>
                  <a:gd name="connsiteX25" fmla="*/ 72406 w 526052"/>
                  <a:gd name="connsiteY25" fmla="*/ 139648 h 387740"/>
                  <a:gd name="connsiteX26" fmla="*/ 69039 w 526052"/>
                  <a:gd name="connsiteY26" fmla="*/ 139227 h 387740"/>
                  <a:gd name="connsiteX27" fmla="*/ 52837 w 526052"/>
                  <a:gd name="connsiteY27" fmla="*/ 147750 h 387740"/>
                  <a:gd name="connsiteX28" fmla="*/ 52311 w 526052"/>
                  <a:gd name="connsiteY28" fmla="*/ 149643 h 387740"/>
                  <a:gd name="connsiteX29" fmla="*/ 103969 w 526052"/>
                  <a:gd name="connsiteY29" fmla="*/ 268003 h 387740"/>
                  <a:gd name="connsiteX30" fmla="*/ 103337 w 526052"/>
                  <a:gd name="connsiteY30" fmla="*/ 269791 h 387740"/>
                  <a:gd name="connsiteX31" fmla="*/ 25588 w 526052"/>
                  <a:gd name="connsiteY31" fmla="*/ 325868 h 387740"/>
                  <a:gd name="connsiteX32" fmla="*/ 128 w 526052"/>
                  <a:gd name="connsiteY32" fmla="*/ 379840 h 387740"/>
                  <a:gd name="connsiteX33" fmla="*/ 205600 w 526052"/>
                  <a:gd name="connsiteY33" fmla="*/ 304300 h 387740"/>
                  <a:gd name="connsiteX34" fmla="*/ 211807 w 526052"/>
                  <a:gd name="connsiteY34" fmla="*/ 302827 h 387740"/>
                  <a:gd name="connsiteX35" fmla="*/ 504392 w 526052"/>
                  <a:gd name="connsiteY35" fmla="*/ 298408 h 387740"/>
                  <a:gd name="connsiteX36" fmla="*/ 509021 w 526052"/>
                  <a:gd name="connsiteY36" fmla="*/ 297356 h 387740"/>
                  <a:gd name="connsiteX37" fmla="*/ 525539 w 526052"/>
                  <a:gd name="connsiteY37" fmla="*/ 287992 h 387740"/>
                  <a:gd name="connsiteX38" fmla="*/ 522593 w 526052"/>
                  <a:gd name="connsiteY38" fmla="*/ 285573 h 38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6052" h="387740">
                    <a:moveTo>
                      <a:pt x="522593" y="285362"/>
                    </a:moveTo>
                    <a:lnTo>
                      <a:pt x="280929" y="256430"/>
                    </a:lnTo>
                    <a:cubicBezTo>
                      <a:pt x="280929" y="256430"/>
                      <a:pt x="278194" y="256009"/>
                      <a:pt x="280403" y="254326"/>
                    </a:cubicBezTo>
                    <a:cubicBezTo>
                      <a:pt x="284086" y="251485"/>
                      <a:pt x="392135" y="169738"/>
                      <a:pt x="392135" y="169738"/>
                    </a:cubicBezTo>
                    <a:cubicBezTo>
                      <a:pt x="392135" y="169738"/>
                      <a:pt x="392556" y="169422"/>
                      <a:pt x="393187" y="169422"/>
                    </a:cubicBezTo>
                    <a:cubicBezTo>
                      <a:pt x="400131" y="169738"/>
                      <a:pt x="455155" y="170580"/>
                      <a:pt x="467254" y="170369"/>
                    </a:cubicBezTo>
                    <a:cubicBezTo>
                      <a:pt x="468727" y="170369"/>
                      <a:pt x="472514" y="169633"/>
                      <a:pt x="473882" y="169107"/>
                    </a:cubicBezTo>
                    <a:cubicBezTo>
                      <a:pt x="478090" y="167423"/>
                      <a:pt x="488506" y="162268"/>
                      <a:pt x="489453" y="161532"/>
                    </a:cubicBezTo>
                    <a:cubicBezTo>
                      <a:pt x="491452" y="160269"/>
                      <a:pt x="490189" y="159533"/>
                      <a:pt x="489558" y="159322"/>
                    </a:cubicBezTo>
                    <a:cubicBezTo>
                      <a:pt x="488927" y="159112"/>
                      <a:pt x="428432" y="138702"/>
                      <a:pt x="417490" y="135019"/>
                    </a:cubicBezTo>
                    <a:cubicBezTo>
                      <a:pt x="416438" y="134598"/>
                      <a:pt x="415807" y="133757"/>
                      <a:pt x="415807" y="132494"/>
                    </a:cubicBezTo>
                    <a:cubicBezTo>
                      <a:pt x="415807" y="116187"/>
                      <a:pt x="415807" y="4876"/>
                      <a:pt x="415807" y="1825"/>
                    </a:cubicBezTo>
                    <a:cubicBezTo>
                      <a:pt x="415912" y="-1436"/>
                      <a:pt x="411598" y="668"/>
                      <a:pt x="411598" y="668"/>
                    </a:cubicBezTo>
                    <a:cubicBezTo>
                      <a:pt x="411598" y="668"/>
                      <a:pt x="398763" y="7191"/>
                      <a:pt x="393923" y="9716"/>
                    </a:cubicBezTo>
                    <a:cubicBezTo>
                      <a:pt x="392871" y="10242"/>
                      <a:pt x="391924" y="11294"/>
                      <a:pt x="391504" y="12451"/>
                    </a:cubicBezTo>
                    <a:cubicBezTo>
                      <a:pt x="387190" y="25602"/>
                      <a:pt x="360572" y="109454"/>
                      <a:pt x="358573" y="115661"/>
                    </a:cubicBezTo>
                    <a:cubicBezTo>
                      <a:pt x="358573" y="115871"/>
                      <a:pt x="358258" y="115976"/>
                      <a:pt x="358047" y="115976"/>
                    </a:cubicBezTo>
                    <a:cubicBezTo>
                      <a:pt x="352997" y="114504"/>
                      <a:pt x="331535" y="107455"/>
                      <a:pt x="324801" y="105456"/>
                    </a:cubicBezTo>
                    <a:cubicBezTo>
                      <a:pt x="322908" y="104930"/>
                      <a:pt x="322066" y="105035"/>
                      <a:pt x="320909" y="105561"/>
                    </a:cubicBezTo>
                    <a:cubicBezTo>
                      <a:pt x="318910" y="106613"/>
                      <a:pt x="309125" y="111137"/>
                      <a:pt x="304917" y="113136"/>
                    </a:cubicBezTo>
                    <a:cubicBezTo>
                      <a:pt x="303654" y="113662"/>
                      <a:pt x="303865" y="114924"/>
                      <a:pt x="304286" y="115556"/>
                    </a:cubicBezTo>
                    <a:cubicBezTo>
                      <a:pt x="304706" y="116187"/>
                      <a:pt x="332166" y="145540"/>
                      <a:pt x="336479" y="150800"/>
                    </a:cubicBezTo>
                    <a:cubicBezTo>
                      <a:pt x="337005" y="151432"/>
                      <a:pt x="336164" y="152063"/>
                      <a:pt x="336164" y="152063"/>
                    </a:cubicBezTo>
                    <a:lnTo>
                      <a:pt x="192344" y="226445"/>
                    </a:lnTo>
                    <a:cubicBezTo>
                      <a:pt x="192344" y="226445"/>
                      <a:pt x="191502" y="226972"/>
                      <a:pt x="190555" y="226445"/>
                    </a:cubicBezTo>
                    <a:cubicBezTo>
                      <a:pt x="180666" y="219712"/>
                      <a:pt x="85452" y="148907"/>
                      <a:pt x="72406" y="139648"/>
                    </a:cubicBezTo>
                    <a:cubicBezTo>
                      <a:pt x="71459" y="139017"/>
                      <a:pt x="70407" y="138807"/>
                      <a:pt x="69039" y="139227"/>
                    </a:cubicBezTo>
                    <a:cubicBezTo>
                      <a:pt x="65988" y="140174"/>
                      <a:pt x="58413" y="142910"/>
                      <a:pt x="52837" y="147750"/>
                    </a:cubicBezTo>
                    <a:cubicBezTo>
                      <a:pt x="51890" y="148486"/>
                      <a:pt x="52311" y="149643"/>
                      <a:pt x="52311" y="149643"/>
                    </a:cubicBezTo>
                    <a:cubicBezTo>
                      <a:pt x="52311" y="149643"/>
                      <a:pt x="103758" y="267372"/>
                      <a:pt x="103969" y="268003"/>
                    </a:cubicBezTo>
                    <a:cubicBezTo>
                      <a:pt x="104179" y="268634"/>
                      <a:pt x="103969" y="269476"/>
                      <a:pt x="103337" y="269791"/>
                    </a:cubicBezTo>
                    <a:cubicBezTo>
                      <a:pt x="94815" y="273579"/>
                      <a:pt x="26956" y="303668"/>
                      <a:pt x="25588" y="325868"/>
                    </a:cubicBezTo>
                    <a:cubicBezTo>
                      <a:pt x="17908" y="337230"/>
                      <a:pt x="-1766" y="363637"/>
                      <a:pt x="128" y="379840"/>
                    </a:cubicBezTo>
                    <a:cubicBezTo>
                      <a:pt x="9281" y="415926"/>
                      <a:pt x="182770" y="317451"/>
                      <a:pt x="205600" y="304300"/>
                    </a:cubicBezTo>
                    <a:cubicBezTo>
                      <a:pt x="207178" y="303353"/>
                      <a:pt x="209388" y="302827"/>
                      <a:pt x="211807" y="302827"/>
                    </a:cubicBezTo>
                    <a:cubicBezTo>
                      <a:pt x="244738" y="302406"/>
                      <a:pt x="485139" y="299776"/>
                      <a:pt x="504392" y="298408"/>
                    </a:cubicBezTo>
                    <a:cubicBezTo>
                      <a:pt x="506496" y="298303"/>
                      <a:pt x="508495" y="297566"/>
                      <a:pt x="509021" y="297356"/>
                    </a:cubicBezTo>
                    <a:cubicBezTo>
                      <a:pt x="511652" y="295988"/>
                      <a:pt x="520384" y="291570"/>
                      <a:pt x="525539" y="287992"/>
                    </a:cubicBezTo>
                    <a:cubicBezTo>
                      <a:pt x="527643" y="286204"/>
                      <a:pt x="522593" y="285573"/>
                      <a:pt x="522593" y="285573"/>
                    </a:cubicBezTo>
                  </a:path>
                </a:pathLst>
              </a:custGeom>
              <a:solidFill>
                <a:srgbClr val="009FE3"/>
              </a:solidFill>
              <a:ln w="10508" cap="flat">
                <a:noFill/>
                <a:prstDash val="solid"/>
                <a:miter/>
              </a:ln>
            </p:spPr>
            <p:txBody>
              <a:bodyPr rtlCol="0" anchor="ctr"/>
              <a:lstStyle/>
              <a:p>
                <a:endParaRPr lang="nl-NL"/>
              </a:p>
            </p:txBody>
          </p:sp>
          <p:grpSp>
            <p:nvGrpSpPr>
              <p:cNvPr id="75" name="Graphic 3">
                <a:extLst>
                  <a:ext uri="{FF2B5EF4-FFF2-40B4-BE49-F238E27FC236}">
                    <a16:creationId xmlns:a16="http://schemas.microsoft.com/office/drawing/2014/main" id="{D4BBE857-F92E-4E01-91B5-D3F4784275A4}"/>
                  </a:ext>
                </a:extLst>
              </p:cNvPr>
              <p:cNvGrpSpPr/>
              <p:nvPr/>
            </p:nvGrpSpPr>
            <p:grpSpPr>
              <a:xfrm>
                <a:off x="2736110" y="1070279"/>
                <a:ext cx="905635" cy="1223271"/>
                <a:chOff x="2736110" y="1070279"/>
                <a:chExt cx="905635" cy="1223271"/>
              </a:xfrm>
              <a:solidFill>
                <a:srgbClr val="004C7D"/>
              </a:solidFill>
            </p:grpSpPr>
            <p:sp>
              <p:nvSpPr>
                <p:cNvPr id="82" name="Freeform: Shape 81">
                  <a:extLst>
                    <a:ext uri="{FF2B5EF4-FFF2-40B4-BE49-F238E27FC236}">
                      <a16:creationId xmlns:a16="http://schemas.microsoft.com/office/drawing/2014/main" id="{0D1B5A85-3F2D-4F6B-A08F-024A62923064}"/>
                    </a:ext>
                  </a:extLst>
                </p:cNvPr>
                <p:cNvSpPr/>
                <p:nvPr/>
              </p:nvSpPr>
              <p:spPr>
                <a:xfrm>
                  <a:off x="2736110" y="1457055"/>
                  <a:ext cx="759823" cy="836494"/>
                </a:xfrm>
                <a:custGeom>
                  <a:avLst/>
                  <a:gdLst>
                    <a:gd name="connsiteX0" fmla="*/ 746139 w 759823"/>
                    <a:gd name="connsiteY0" fmla="*/ 739799 h 836494"/>
                    <a:gd name="connsiteX1" fmla="*/ 122884 w 759823"/>
                    <a:gd name="connsiteY1" fmla="*/ 318755 h 836494"/>
                    <a:gd name="connsiteX2" fmla="*/ 241770 w 759823"/>
                    <a:gd name="connsiteY2" fmla="*/ 101078 h 836494"/>
                    <a:gd name="connsiteX3" fmla="*/ 247135 w 759823"/>
                    <a:gd name="connsiteY3" fmla="*/ 89505 h 836494"/>
                    <a:gd name="connsiteX4" fmla="*/ 247135 w 759823"/>
                    <a:gd name="connsiteY4" fmla="*/ 6496 h 836494"/>
                    <a:gd name="connsiteX5" fmla="*/ 237140 w 759823"/>
                    <a:gd name="connsiteY5" fmla="*/ 1025 h 836494"/>
                    <a:gd name="connsiteX6" fmla="*/ 118360 w 759823"/>
                    <a:gd name="connsiteY6" fmla="*/ 85402 h 836494"/>
                    <a:gd name="connsiteX7" fmla="*/ 0 w 759823"/>
                    <a:gd name="connsiteY7" fmla="*/ 326961 h 836494"/>
                    <a:gd name="connsiteX8" fmla="*/ 594534 w 759823"/>
                    <a:gd name="connsiteY8" fmla="*/ 835118 h 836494"/>
                    <a:gd name="connsiteX9" fmla="*/ 630094 w 759823"/>
                    <a:gd name="connsiteY9" fmla="*/ 831857 h 836494"/>
                    <a:gd name="connsiteX10" fmla="*/ 751505 w 759823"/>
                    <a:gd name="connsiteY10" fmla="*/ 758211 h 836494"/>
                    <a:gd name="connsiteX11" fmla="*/ 746244 w 759823"/>
                    <a:gd name="connsiteY11" fmla="*/ 739694 h 83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823" h="836494">
                      <a:moveTo>
                        <a:pt x="746139" y="739799"/>
                      </a:moveTo>
                      <a:cubicBezTo>
                        <a:pt x="404001" y="713076"/>
                        <a:pt x="122568" y="535064"/>
                        <a:pt x="122884" y="318755"/>
                      </a:cubicBezTo>
                      <a:cubicBezTo>
                        <a:pt x="122989" y="234693"/>
                        <a:pt x="166019" y="166834"/>
                        <a:pt x="241770" y="101078"/>
                      </a:cubicBezTo>
                      <a:cubicBezTo>
                        <a:pt x="245136" y="98132"/>
                        <a:pt x="247135" y="93924"/>
                        <a:pt x="247135" y="89505"/>
                      </a:cubicBezTo>
                      <a:lnTo>
                        <a:pt x="247135" y="6496"/>
                      </a:lnTo>
                      <a:cubicBezTo>
                        <a:pt x="247135" y="1341"/>
                        <a:pt x="241454" y="-1710"/>
                        <a:pt x="237140" y="1025"/>
                      </a:cubicBezTo>
                      <a:cubicBezTo>
                        <a:pt x="185799" y="34271"/>
                        <a:pt x="143926" y="63519"/>
                        <a:pt x="118360" y="85402"/>
                      </a:cubicBezTo>
                      <a:cubicBezTo>
                        <a:pt x="23041" y="170937"/>
                        <a:pt x="106" y="235956"/>
                        <a:pt x="0" y="326961"/>
                      </a:cubicBezTo>
                      <a:cubicBezTo>
                        <a:pt x="-315" y="560629"/>
                        <a:pt x="248082" y="778516"/>
                        <a:pt x="594534" y="835118"/>
                      </a:cubicBezTo>
                      <a:cubicBezTo>
                        <a:pt x="612314" y="838064"/>
                        <a:pt x="621257" y="835960"/>
                        <a:pt x="630094" y="831857"/>
                      </a:cubicBezTo>
                      <a:cubicBezTo>
                        <a:pt x="646507" y="824282"/>
                        <a:pt x="748454" y="760105"/>
                        <a:pt x="751505" y="758211"/>
                      </a:cubicBezTo>
                      <a:cubicBezTo>
                        <a:pt x="763920" y="750320"/>
                        <a:pt x="762657" y="740957"/>
                        <a:pt x="746244" y="739694"/>
                      </a:cubicBezTo>
                      <a:close/>
                    </a:path>
                  </a:pathLst>
                </a:custGeom>
                <a:solidFill>
                  <a:srgbClr val="004C7D"/>
                </a:solidFill>
                <a:ln w="10508" cap="flat">
                  <a:noFill/>
                  <a:prstDash val="solid"/>
                  <a:miter/>
                </a:ln>
              </p:spPr>
              <p:txBody>
                <a:bodyPr rtlCol="0" anchor="ctr"/>
                <a:lstStyle/>
                <a:p>
                  <a:endParaRPr lang="nl-NL"/>
                </a:p>
              </p:txBody>
            </p:sp>
            <p:sp>
              <p:nvSpPr>
                <p:cNvPr id="83" name="Freeform: Shape 82">
                  <a:extLst>
                    <a:ext uri="{FF2B5EF4-FFF2-40B4-BE49-F238E27FC236}">
                      <a16:creationId xmlns:a16="http://schemas.microsoft.com/office/drawing/2014/main" id="{B410ABD0-A99A-4A03-A4EA-4AD5ECB9AA2C}"/>
                    </a:ext>
                  </a:extLst>
                </p:cNvPr>
                <p:cNvSpPr/>
                <p:nvPr/>
              </p:nvSpPr>
              <p:spPr>
                <a:xfrm>
                  <a:off x="3384247" y="1070279"/>
                  <a:ext cx="257498" cy="151082"/>
                </a:xfrm>
                <a:custGeom>
                  <a:avLst/>
                  <a:gdLst>
                    <a:gd name="connsiteX0" fmla="*/ 257499 w 257498"/>
                    <a:gd name="connsiteY0" fmla="*/ 8314 h 151082"/>
                    <a:gd name="connsiteX1" fmla="*/ 248556 w 257498"/>
                    <a:gd name="connsiteY1" fmla="*/ 1686 h 151082"/>
                    <a:gd name="connsiteX2" fmla="*/ 2473 w 257498"/>
                    <a:gd name="connsiteY2" fmla="*/ 142034 h 151082"/>
                    <a:gd name="connsiteX3" fmla="*/ 4788 w 257498"/>
                    <a:gd name="connsiteY3" fmla="*/ 151082 h 151082"/>
                    <a:gd name="connsiteX4" fmla="*/ 115572 w 257498"/>
                    <a:gd name="connsiteY4" fmla="*/ 151082 h 151082"/>
                    <a:gd name="connsiteX5" fmla="*/ 128092 w 257498"/>
                    <a:gd name="connsiteY5" fmla="*/ 147610 h 151082"/>
                    <a:gd name="connsiteX6" fmla="*/ 249608 w 257498"/>
                    <a:gd name="connsiteY6" fmla="*/ 74490 h 151082"/>
                    <a:gd name="connsiteX7" fmla="*/ 256867 w 257498"/>
                    <a:gd name="connsiteY7" fmla="*/ 61655 h 151082"/>
                    <a:gd name="connsiteX8" fmla="*/ 257499 w 257498"/>
                    <a:gd name="connsiteY8" fmla="*/ 8314 h 1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498" h="151082">
                      <a:moveTo>
                        <a:pt x="257499" y="8314"/>
                      </a:moveTo>
                      <a:cubicBezTo>
                        <a:pt x="257499" y="4842"/>
                        <a:pt x="256762" y="-3575"/>
                        <a:pt x="248556" y="1686"/>
                      </a:cubicBezTo>
                      <a:cubicBezTo>
                        <a:pt x="226462" y="15889"/>
                        <a:pt x="125672" y="71965"/>
                        <a:pt x="2473" y="142034"/>
                      </a:cubicBezTo>
                      <a:cubicBezTo>
                        <a:pt x="-1840" y="144454"/>
                        <a:pt x="-157" y="151082"/>
                        <a:pt x="4788" y="151082"/>
                      </a:cubicBezTo>
                      <a:lnTo>
                        <a:pt x="115572" y="151082"/>
                      </a:lnTo>
                      <a:cubicBezTo>
                        <a:pt x="119991" y="151082"/>
                        <a:pt x="124305" y="149820"/>
                        <a:pt x="128092" y="147610"/>
                      </a:cubicBezTo>
                      <a:cubicBezTo>
                        <a:pt x="187535" y="112050"/>
                        <a:pt x="233406" y="84695"/>
                        <a:pt x="249608" y="74490"/>
                      </a:cubicBezTo>
                      <a:cubicBezTo>
                        <a:pt x="258025" y="69230"/>
                        <a:pt x="256867" y="61655"/>
                        <a:pt x="256867" y="61655"/>
                      </a:cubicBezTo>
                      <a:cubicBezTo>
                        <a:pt x="256867" y="61655"/>
                        <a:pt x="257499" y="11786"/>
                        <a:pt x="257499" y="8314"/>
                      </a:cubicBezTo>
                      <a:close/>
                    </a:path>
                  </a:pathLst>
                </a:custGeom>
                <a:solidFill>
                  <a:srgbClr val="004C7D"/>
                </a:solidFill>
                <a:ln w="10508" cap="flat">
                  <a:noFill/>
                  <a:prstDash val="solid"/>
                  <a:miter/>
                </a:ln>
              </p:spPr>
              <p:txBody>
                <a:bodyPr rtlCol="0" anchor="ctr"/>
                <a:lstStyle/>
                <a:p>
                  <a:endParaRPr lang="nl-NL"/>
                </a:p>
              </p:txBody>
            </p:sp>
          </p:grpSp>
          <p:sp>
            <p:nvSpPr>
              <p:cNvPr id="76" name="Freeform: Shape 75">
                <a:extLst>
                  <a:ext uri="{FF2B5EF4-FFF2-40B4-BE49-F238E27FC236}">
                    <a16:creationId xmlns:a16="http://schemas.microsoft.com/office/drawing/2014/main" id="{5E567018-D5CF-48EE-B9F6-12998477F11C}"/>
                  </a:ext>
                </a:extLst>
              </p:cNvPr>
              <p:cNvSpPr/>
              <p:nvPr/>
            </p:nvSpPr>
            <p:spPr>
              <a:xfrm>
                <a:off x="3350195" y="1295323"/>
                <a:ext cx="172314" cy="116781"/>
              </a:xfrm>
              <a:custGeom>
                <a:avLst/>
                <a:gdLst>
                  <a:gd name="connsiteX0" fmla="*/ 160145 w 172314"/>
                  <a:gd name="connsiteY0" fmla="*/ 0 h 116781"/>
                  <a:gd name="connsiteX1" fmla="*/ 86394 w 172314"/>
                  <a:gd name="connsiteY1" fmla="*/ 0 h 116781"/>
                  <a:gd name="connsiteX2" fmla="*/ 74295 w 172314"/>
                  <a:gd name="connsiteY2" fmla="*/ 5681 h 116781"/>
                  <a:gd name="connsiteX3" fmla="*/ 2122 w 172314"/>
                  <a:gd name="connsiteY3" fmla="*/ 101316 h 116781"/>
                  <a:gd name="connsiteX4" fmla="*/ 859 w 172314"/>
                  <a:gd name="connsiteY4" fmla="*/ 110785 h 116781"/>
                  <a:gd name="connsiteX5" fmla="*/ 12117 w 172314"/>
                  <a:gd name="connsiteY5" fmla="*/ 116782 h 116781"/>
                  <a:gd name="connsiteX6" fmla="*/ 67561 w 172314"/>
                  <a:gd name="connsiteY6" fmla="*/ 116782 h 116781"/>
                  <a:gd name="connsiteX7" fmla="*/ 78819 w 172314"/>
                  <a:gd name="connsiteY7" fmla="*/ 112152 h 116781"/>
                  <a:gd name="connsiteX8" fmla="*/ 169298 w 172314"/>
                  <a:gd name="connsiteY8" fmla="*/ 16518 h 116781"/>
                  <a:gd name="connsiteX9" fmla="*/ 171613 w 172314"/>
                  <a:gd name="connsiteY9" fmla="*/ 6418 h 116781"/>
                  <a:gd name="connsiteX10" fmla="*/ 160145 w 172314"/>
                  <a:gd name="connsiteY10" fmla="*/ 0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160145" y="0"/>
                    </a:moveTo>
                    <a:lnTo>
                      <a:pt x="86394" y="0"/>
                    </a:lnTo>
                    <a:cubicBezTo>
                      <a:pt x="81554" y="0"/>
                      <a:pt x="76925" y="2209"/>
                      <a:pt x="74295" y="5681"/>
                    </a:cubicBezTo>
                    <a:lnTo>
                      <a:pt x="2122" y="101316"/>
                    </a:lnTo>
                    <a:cubicBezTo>
                      <a:pt x="-193" y="104367"/>
                      <a:pt x="-614" y="107734"/>
                      <a:pt x="859" y="110785"/>
                    </a:cubicBezTo>
                    <a:cubicBezTo>
                      <a:pt x="2332" y="113730"/>
                      <a:pt x="6014" y="116782"/>
                      <a:pt x="12117" y="116782"/>
                    </a:cubicBezTo>
                    <a:lnTo>
                      <a:pt x="67561" y="116782"/>
                    </a:lnTo>
                    <a:cubicBezTo>
                      <a:pt x="71875" y="116782"/>
                      <a:pt x="76083" y="115098"/>
                      <a:pt x="78819" y="112152"/>
                    </a:cubicBezTo>
                    <a:lnTo>
                      <a:pt x="169298" y="16518"/>
                    </a:lnTo>
                    <a:cubicBezTo>
                      <a:pt x="173296" y="12309"/>
                      <a:pt x="172454" y="8311"/>
                      <a:pt x="171613" y="6418"/>
                    </a:cubicBezTo>
                    <a:cubicBezTo>
                      <a:pt x="170245" y="3261"/>
                      <a:pt x="166563" y="0"/>
                      <a:pt x="160145" y="0"/>
                    </a:cubicBezTo>
                    <a:close/>
                  </a:path>
                </a:pathLst>
              </a:custGeom>
              <a:solidFill>
                <a:srgbClr val="009FE3"/>
              </a:solidFill>
              <a:ln w="10508" cap="flat">
                <a:noFill/>
                <a:prstDash val="solid"/>
                <a:miter/>
              </a:ln>
            </p:spPr>
            <p:txBody>
              <a:bodyPr rtlCol="0" anchor="ctr"/>
              <a:lstStyle/>
              <a:p>
                <a:endParaRPr lang="nl-NL"/>
              </a:p>
            </p:txBody>
          </p:sp>
          <p:sp>
            <p:nvSpPr>
              <p:cNvPr id="77" name="Freeform: Shape 76">
                <a:extLst>
                  <a:ext uri="{FF2B5EF4-FFF2-40B4-BE49-F238E27FC236}">
                    <a16:creationId xmlns:a16="http://schemas.microsoft.com/office/drawing/2014/main" id="{CAAA2C0F-3954-4F2A-9031-7785B3A5301F}"/>
                  </a:ext>
                </a:extLst>
              </p:cNvPr>
              <p:cNvSpPr/>
              <p:nvPr/>
            </p:nvSpPr>
            <p:spPr>
              <a:xfrm>
                <a:off x="2964027" y="1295323"/>
                <a:ext cx="172314" cy="116781"/>
              </a:xfrm>
              <a:custGeom>
                <a:avLst/>
                <a:gdLst>
                  <a:gd name="connsiteX0" fmla="*/ 98020 w 172314"/>
                  <a:gd name="connsiteY0" fmla="*/ 5681 h 116781"/>
                  <a:gd name="connsiteX1" fmla="*/ 85921 w 172314"/>
                  <a:gd name="connsiteY1" fmla="*/ 0 h 116781"/>
                  <a:gd name="connsiteX2" fmla="*/ 12170 w 172314"/>
                  <a:gd name="connsiteY2" fmla="*/ 0 h 116781"/>
                  <a:gd name="connsiteX3" fmla="*/ 702 w 172314"/>
                  <a:gd name="connsiteY3" fmla="*/ 6418 h 116781"/>
                  <a:gd name="connsiteX4" fmla="*/ 3017 w 172314"/>
                  <a:gd name="connsiteY4" fmla="*/ 16518 h 116781"/>
                  <a:gd name="connsiteX5" fmla="*/ 93496 w 172314"/>
                  <a:gd name="connsiteY5" fmla="*/ 112152 h 116781"/>
                  <a:gd name="connsiteX6" fmla="*/ 104753 w 172314"/>
                  <a:gd name="connsiteY6" fmla="*/ 116782 h 116781"/>
                  <a:gd name="connsiteX7" fmla="*/ 160198 w 172314"/>
                  <a:gd name="connsiteY7" fmla="*/ 116782 h 116781"/>
                  <a:gd name="connsiteX8" fmla="*/ 171455 w 172314"/>
                  <a:gd name="connsiteY8" fmla="*/ 110785 h 116781"/>
                  <a:gd name="connsiteX9" fmla="*/ 170193 w 172314"/>
                  <a:gd name="connsiteY9" fmla="*/ 101316 h 116781"/>
                  <a:gd name="connsiteX10" fmla="*/ 98020 w 172314"/>
                  <a:gd name="connsiteY10" fmla="*/ 5681 h 1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314" h="116781">
                    <a:moveTo>
                      <a:pt x="98020" y="5681"/>
                    </a:moveTo>
                    <a:cubicBezTo>
                      <a:pt x="95390" y="2209"/>
                      <a:pt x="90761" y="0"/>
                      <a:pt x="85921" y="0"/>
                    </a:cubicBezTo>
                    <a:lnTo>
                      <a:pt x="12170" y="0"/>
                    </a:lnTo>
                    <a:cubicBezTo>
                      <a:pt x="5752" y="0"/>
                      <a:pt x="2070" y="3367"/>
                      <a:pt x="702" y="6418"/>
                    </a:cubicBezTo>
                    <a:cubicBezTo>
                      <a:pt x="-140" y="8417"/>
                      <a:pt x="-981" y="12309"/>
                      <a:pt x="3017" y="16518"/>
                    </a:cubicBezTo>
                    <a:lnTo>
                      <a:pt x="93496" y="112152"/>
                    </a:lnTo>
                    <a:cubicBezTo>
                      <a:pt x="96231" y="115098"/>
                      <a:pt x="100440" y="116782"/>
                      <a:pt x="104753" y="116782"/>
                    </a:cubicBezTo>
                    <a:lnTo>
                      <a:pt x="160198" y="116782"/>
                    </a:lnTo>
                    <a:cubicBezTo>
                      <a:pt x="166300" y="116782"/>
                      <a:pt x="169983" y="113625"/>
                      <a:pt x="171455" y="110785"/>
                    </a:cubicBezTo>
                    <a:cubicBezTo>
                      <a:pt x="172928" y="107734"/>
                      <a:pt x="172508" y="104367"/>
                      <a:pt x="170193" y="101316"/>
                    </a:cubicBezTo>
                    <a:lnTo>
                      <a:pt x="98020" y="5681"/>
                    </a:lnTo>
                    <a:close/>
                  </a:path>
                </a:pathLst>
              </a:custGeom>
              <a:solidFill>
                <a:srgbClr val="009FE3"/>
              </a:solidFill>
              <a:ln w="10508" cap="flat">
                <a:noFill/>
                <a:prstDash val="solid"/>
                <a:miter/>
              </a:ln>
            </p:spPr>
            <p:txBody>
              <a:bodyPr rtlCol="0" anchor="ctr"/>
              <a:lstStyle/>
              <a:p>
                <a:endParaRPr lang="nl-NL"/>
              </a:p>
            </p:txBody>
          </p:sp>
          <p:sp>
            <p:nvSpPr>
              <p:cNvPr id="78" name="Freeform: Shape 77">
                <a:extLst>
                  <a:ext uri="{FF2B5EF4-FFF2-40B4-BE49-F238E27FC236}">
                    <a16:creationId xmlns:a16="http://schemas.microsoft.com/office/drawing/2014/main" id="{3DA79B4D-BD62-497E-9F8E-9EBC25FE14D9}"/>
                  </a:ext>
                </a:extLst>
              </p:cNvPr>
              <p:cNvSpPr/>
              <p:nvPr/>
            </p:nvSpPr>
            <p:spPr>
              <a:xfrm>
                <a:off x="3367993" y="1318246"/>
                <a:ext cx="905530" cy="1223274"/>
              </a:xfrm>
              <a:custGeom>
                <a:avLst/>
                <a:gdLst>
                  <a:gd name="connsiteX0" fmla="*/ 782752 w 905530"/>
                  <a:gd name="connsiteY0" fmla="*/ 517744 h 1223274"/>
                  <a:gd name="connsiteX1" fmla="*/ 555501 w 905530"/>
                  <a:gd name="connsiteY1" fmla="*/ 815905 h 1223274"/>
                  <a:gd name="connsiteX2" fmla="*/ 7891 w 905530"/>
                  <a:gd name="connsiteY2" fmla="*/ 1148785 h 1223274"/>
                  <a:gd name="connsiteX3" fmla="*/ 631 w 905530"/>
                  <a:gd name="connsiteY3" fmla="*/ 1161620 h 1223274"/>
                  <a:gd name="connsiteX4" fmla="*/ 0 w 905530"/>
                  <a:gd name="connsiteY4" fmla="*/ 1214961 h 1223274"/>
                  <a:gd name="connsiteX5" fmla="*/ 8943 w 905530"/>
                  <a:gd name="connsiteY5" fmla="*/ 1221589 h 1223274"/>
                  <a:gd name="connsiteX6" fmla="*/ 787170 w 905530"/>
                  <a:gd name="connsiteY6" fmla="*/ 751202 h 1223274"/>
                  <a:gd name="connsiteX7" fmla="*/ 905530 w 905530"/>
                  <a:gd name="connsiteY7" fmla="*/ 509538 h 1223274"/>
                  <a:gd name="connsiteX8" fmla="*/ 310996 w 905530"/>
                  <a:gd name="connsiteY8" fmla="*/ 1380 h 1223274"/>
                  <a:gd name="connsiteX9" fmla="*/ 275436 w 905530"/>
                  <a:gd name="connsiteY9" fmla="*/ 4537 h 1223274"/>
                  <a:gd name="connsiteX10" fmla="*/ 154025 w 905530"/>
                  <a:gd name="connsiteY10" fmla="*/ 78288 h 1223274"/>
                  <a:gd name="connsiteX11" fmla="*/ 159286 w 905530"/>
                  <a:gd name="connsiteY11" fmla="*/ 96804 h 1223274"/>
                  <a:gd name="connsiteX12" fmla="*/ 782541 w 905530"/>
                  <a:gd name="connsiteY12" fmla="*/ 517849 h 122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5530" h="1223274">
                    <a:moveTo>
                      <a:pt x="782752" y="517744"/>
                    </a:moveTo>
                    <a:cubicBezTo>
                      <a:pt x="782541" y="636104"/>
                      <a:pt x="697638" y="722374"/>
                      <a:pt x="555501" y="815905"/>
                    </a:cubicBezTo>
                    <a:cubicBezTo>
                      <a:pt x="427567" y="899966"/>
                      <a:pt x="60495" y="1115749"/>
                      <a:pt x="7891" y="1148785"/>
                    </a:cubicBezTo>
                    <a:cubicBezTo>
                      <a:pt x="-526" y="1154045"/>
                      <a:pt x="631" y="1161620"/>
                      <a:pt x="631" y="1161620"/>
                    </a:cubicBezTo>
                    <a:cubicBezTo>
                      <a:pt x="631" y="1161620"/>
                      <a:pt x="0" y="1211489"/>
                      <a:pt x="0" y="1214961"/>
                    </a:cubicBezTo>
                    <a:cubicBezTo>
                      <a:pt x="0" y="1218433"/>
                      <a:pt x="736" y="1226850"/>
                      <a:pt x="8943" y="1221589"/>
                    </a:cubicBezTo>
                    <a:cubicBezTo>
                      <a:pt x="66176" y="1184766"/>
                      <a:pt x="652609" y="866931"/>
                      <a:pt x="787170" y="751202"/>
                    </a:cubicBezTo>
                    <a:cubicBezTo>
                      <a:pt x="882594" y="665667"/>
                      <a:pt x="905425" y="600648"/>
                      <a:pt x="905530" y="509538"/>
                    </a:cubicBezTo>
                    <a:cubicBezTo>
                      <a:pt x="905846" y="275869"/>
                      <a:pt x="657448" y="57983"/>
                      <a:pt x="310996" y="1380"/>
                    </a:cubicBezTo>
                    <a:cubicBezTo>
                      <a:pt x="293216" y="-1566"/>
                      <a:pt x="284273" y="539"/>
                      <a:pt x="275436" y="4537"/>
                    </a:cubicBezTo>
                    <a:cubicBezTo>
                      <a:pt x="259023" y="12112"/>
                      <a:pt x="157076" y="76289"/>
                      <a:pt x="154025" y="78288"/>
                    </a:cubicBezTo>
                    <a:cubicBezTo>
                      <a:pt x="141611" y="86178"/>
                      <a:pt x="142873" y="95542"/>
                      <a:pt x="159286" y="96804"/>
                    </a:cubicBezTo>
                    <a:cubicBezTo>
                      <a:pt x="501424" y="123527"/>
                      <a:pt x="782857" y="301540"/>
                      <a:pt x="782541" y="517849"/>
                    </a:cubicBezTo>
                  </a:path>
                </a:pathLst>
              </a:custGeom>
              <a:solidFill>
                <a:srgbClr val="009FE3"/>
              </a:solidFill>
              <a:ln w="10508"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DC238D67-A451-4046-8001-37710860A719}"/>
                  </a:ext>
                </a:extLst>
              </p:cNvPr>
              <p:cNvSpPr/>
              <p:nvPr/>
            </p:nvSpPr>
            <p:spPr>
              <a:xfrm>
                <a:off x="3067097" y="1528570"/>
                <a:ext cx="872073" cy="474700"/>
              </a:xfrm>
              <a:custGeom>
                <a:avLst/>
                <a:gdLst>
                  <a:gd name="connsiteX0" fmla="*/ 300791 w 872073"/>
                  <a:gd name="connsiteY0" fmla="*/ 469651 h 474700"/>
                  <a:gd name="connsiteX1" fmla="*/ 351607 w 872073"/>
                  <a:gd name="connsiteY1" fmla="*/ 469651 h 474700"/>
                  <a:gd name="connsiteX2" fmla="*/ 351607 w 872073"/>
                  <a:gd name="connsiteY2" fmla="*/ 279223 h 474700"/>
                  <a:gd name="connsiteX3" fmla="*/ 177697 w 872073"/>
                  <a:gd name="connsiteY3" fmla="*/ 110364 h 474700"/>
                  <a:gd name="connsiteX4" fmla="*/ 102789 w 872073"/>
                  <a:gd name="connsiteY4" fmla="*/ 133930 h 474700"/>
                  <a:gd name="connsiteX5" fmla="*/ 42504 w 872073"/>
                  <a:gd name="connsiteY5" fmla="*/ 112678 h 474700"/>
                  <a:gd name="connsiteX6" fmla="*/ 0 w 872073"/>
                  <a:gd name="connsiteY6" fmla="*/ 112678 h 474700"/>
                  <a:gd name="connsiteX7" fmla="*/ 0 w 872073"/>
                  <a:gd name="connsiteY7" fmla="*/ 398530 h 474700"/>
                  <a:gd name="connsiteX8" fmla="*/ 79959 w 872073"/>
                  <a:gd name="connsiteY8" fmla="*/ 469651 h 474700"/>
                  <a:gd name="connsiteX9" fmla="*/ 120569 w 872073"/>
                  <a:gd name="connsiteY9" fmla="*/ 469651 h 474700"/>
                  <a:gd name="connsiteX10" fmla="*/ 120569 w 872073"/>
                  <a:gd name="connsiteY10" fmla="*/ 274173 h 474700"/>
                  <a:gd name="connsiteX11" fmla="*/ 174541 w 872073"/>
                  <a:gd name="connsiteY11" fmla="*/ 208208 h 474700"/>
                  <a:gd name="connsiteX12" fmla="*/ 231038 w 872073"/>
                  <a:gd name="connsiteY12" fmla="*/ 276172 h 474700"/>
                  <a:gd name="connsiteX13" fmla="*/ 231038 w 872073"/>
                  <a:gd name="connsiteY13" fmla="*/ 398635 h 474700"/>
                  <a:gd name="connsiteX14" fmla="*/ 300896 w 872073"/>
                  <a:gd name="connsiteY14" fmla="*/ 469756 h 474700"/>
                  <a:gd name="connsiteX15" fmla="*/ 618731 w 872073"/>
                  <a:gd name="connsiteY15" fmla="*/ 418835 h 474700"/>
                  <a:gd name="connsiteX16" fmla="*/ 618731 w 872073"/>
                  <a:gd name="connsiteY16" fmla="*/ 376962 h 474700"/>
                  <a:gd name="connsiteX17" fmla="*/ 592114 w 872073"/>
                  <a:gd name="connsiteY17" fmla="*/ 376962 h 474700"/>
                  <a:gd name="connsiteX18" fmla="*/ 541298 w 872073"/>
                  <a:gd name="connsiteY18" fmla="*/ 336352 h 474700"/>
                  <a:gd name="connsiteX19" fmla="*/ 541298 w 872073"/>
                  <a:gd name="connsiteY19" fmla="*/ 83115 h 474700"/>
                  <a:gd name="connsiteX20" fmla="*/ 463233 w 872073"/>
                  <a:gd name="connsiteY20" fmla="*/ 0 h 474700"/>
                  <a:gd name="connsiteX21" fmla="*/ 420729 w 872073"/>
                  <a:gd name="connsiteY21" fmla="*/ 0 h 474700"/>
                  <a:gd name="connsiteX22" fmla="*/ 420729 w 872073"/>
                  <a:gd name="connsiteY22" fmla="*/ 354132 h 474700"/>
                  <a:gd name="connsiteX23" fmla="*/ 540035 w 872073"/>
                  <a:gd name="connsiteY23" fmla="*/ 474701 h 474700"/>
                  <a:gd name="connsiteX24" fmla="*/ 618731 w 872073"/>
                  <a:gd name="connsiteY24" fmla="*/ 418835 h 474700"/>
                  <a:gd name="connsiteX25" fmla="*/ 871968 w 872073"/>
                  <a:gd name="connsiteY25" fmla="*/ 210627 h 474700"/>
                  <a:gd name="connsiteX26" fmla="*/ 871968 w 872073"/>
                  <a:gd name="connsiteY26" fmla="*/ 166229 h 474700"/>
                  <a:gd name="connsiteX27" fmla="*/ 783804 w 872073"/>
                  <a:gd name="connsiteY27" fmla="*/ 109101 h 474700"/>
                  <a:gd name="connsiteX28" fmla="*/ 656922 w 872073"/>
                  <a:gd name="connsiteY28" fmla="*/ 235352 h 474700"/>
                  <a:gd name="connsiteX29" fmla="*/ 656922 w 872073"/>
                  <a:gd name="connsiteY29" fmla="*/ 387062 h 474700"/>
                  <a:gd name="connsiteX30" fmla="*/ 740668 w 872073"/>
                  <a:gd name="connsiteY30" fmla="*/ 469546 h 474700"/>
                  <a:gd name="connsiteX31" fmla="*/ 773704 w 872073"/>
                  <a:gd name="connsiteY31" fmla="*/ 469546 h 474700"/>
                  <a:gd name="connsiteX32" fmla="*/ 773704 w 872073"/>
                  <a:gd name="connsiteY32" fmla="*/ 260707 h 474700"/>
                  <a:gd name="connsiteX33" fmla="*/ 825782 w 872073"/>
                  <a:gd name="connsiteY33" fmla="*/ 203579 h 474700"/>
                  <a:gd name="connsiteX34" fmla="*/ 868286 w 872073"/>
                  <a:gd name="connsiteY34" fmla="*/ 210522 h 474700"/>
                  <a:gd name="connsiteX35" fmla="*/ 872074 w 872073"/>
                  <a:gd name="connsiteY35" fmla="*/ 210522 h 4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2073" h="474700">
                    <a:moveTo>
                      <a:pt x="300791" y="469651"/>
                    </a:moveTo>
                    <a:lnTo>
                      <a:pt x="351607" y="469651"/>
                    </a:lnTo>
                    <a:lnTo>
                      <a:pt x="351607" y="279223"/>
                    </a:lnTo>
                    <a:cubicBezTo>
                      <a:pt x="351607" y="175803"/>
                      <a:pt x="301107" y="101421"/>
                      <a:pt x="177697" y="110364"/>
                    </a:cubicBezTo>
                    <a:cubicBezTo>
                      <a:pt x="145609" y="112678"/>
                      <a:pt x="106787" y="133194"/>
                      <a:pt x="102789" y="133930"/>
                    </a:cubicBezTo>
                    <a:cubicBezTo>
                      <a:pt x="89848" y="119306"/>
                      <a:pt x="69964" y="112678"/>
                      <a:pt x="42504" y="112678"/>
                    </a:cubicBezTo>
                    <a:lnTo>
                      <a:pt x="0" y="112678"/>
                    </a:lnTo>
                    <a:lnTo>
                      <a:pt x="0" y="398530"/>
                    </a:lnTo>
                    <a:cubicBezTo>
                      <a:pt x="0" y="449346"/>
                      <a:pt x="28617" y="469651"/>
                      <a:pt x="79959" y="469651"/>
                    </a:cubicBezTo>
                    <a:lnTo>
                      <a:pt x="120569" y="469651"/>
                    </a:lnTo>
                    <a:lnTo>
                      <a:pt x="120569" y="274173"/>
                    </a:lnTo>
                    <a:cubicBezTo>
                      <a:pt x="120569" y="231669"/>
                      <a:pt x="139612" y="208208"/>
                      <a:pt x="174541" y="208208"/>
                    </a:cubicBezTo>
                    <a:cubicBezTo>
                      <a:pt x="215151" y="208208"/>
                      <a:pt x="231038" y="229144"/>
                      <a:pt x="231038" y="276172"/>
                    </a:cubicBezTo>
                    <a:lnTo>
                      <a:pt x="231038" y="398635"/>
                    </a:lnTo>
                    <a:cubicBezTo>
                      <a:pt x="231038" y="451976"/>
                      <a:pt x="247556" y="469756"/>
                      <a:pt x="300896" y="469756"/>
                    </a:cubicBezTo>
                    <a:moveTo>
                      <a:pt x="618731" y="418835"/>
                    </a:moveTo>
                    <a:lnTo>
                      <a:pt x="618731" y="376962"/>
                    </a:lnTo>
                    <a:lnTo>
                      <a:pt x="592114" y="376962"/>
                    </a:lnTo>
                    <a:cubicBezTo>
                      <a:pt x="558447" y="376962"/>
                      <a:pt x="541298" y="367388"/>
                      <a:pt x="541298" y="336352"/>
                    </a:cubicBezTo>
                    <a:lnTo>
                      <a:pt x="541298" y="83115"/>
                    </a:lnTo>
                    <a:cubicBezTo>
                      <a:pt x="541298" y="24093"/>
                      <a:pt x="515943" y="0"/>
                      <a:pt x="463233" y="0"/>
                    </a:cubicBezTo>
                    <a:lnTo>
                      <a:pt x="420729" y="0"/>
                    </a:lnTo>
                    <a:lnTo>
                      <a:pt x="420729" y="354132"/>
                    </a:lnTo>
                    <a:cubicBezTo>
                      <a:pt x="420729" y="436615"/>
                      <a:pt x="475963" y="474701"/>
                      <a:pt x="540035" y="474701"/>
                    </a:cubicBezTo>
                    <a:cubicBezTo>
                      <a:pt x="578121" y="474701"/>
                      <a:pt x="618731" y="461339"/>
                      <a:pt x="618731" y="418835"/>
                    </a:cubicBezTo>
                    <a:moveTo>
                      <a:pt x="871968" y="210627"/>
                    </a:moveTo>
                    <a:lnTo>
                      <a:pt x="871968" y="166229"/>
                    </a:lnTo>
                    <a:cubicBezTo>
                      <a:pt x="871968" y="133825"/>
                      <a:pt x="844088" y="109101"/>
                      <a:pt x="783804" y="109101"/>
                    </a:cubicBezTo>
                    <a:cubicBezTo>
                      <a:pt x="704476" y="109101"/>
                      <a:pt x="656922" y="164967"/>
                      <a:pt x="656922" y="235352"/>
                    </a:cubicBezTo>
                    <a:lnTo>
                      <a:pt x="656922" y="387062"/>
                    </a:lnTo>
                    <a:cubicBezTo>
                      <a:pt x="656922" y="445453"/>
                      <a:pt x="688695" y="469546"/>
                      <a:pt x="740668" y="469546"/>
                    </a:cubicBezTo>
                    <a:lnTo>
                      <a:pt x="773704" y="469546"/>
                    </a:lnTo>
                    <a:lnTo>
                      <a:pt x="773704" y="260707"/>
                    </a:lnTo>
                    <a:cubicBezTo>
                      <a:pt x="773704" y="218203"/>
                      <a:pt x="796534" y="203579"/>
                      <a:pt x="825782" y="203579"/>
                    </a:cubicBezTo>
                    <a:cubicBezTo>
                      <a:pt x="841668" y="203579"/>
                      <a:pt x="853031" y="204841"/>
                      <a:pt x="868286" y="210522"/>
                    </a:cubicBezTo>
                    <a:lnTo>
                      <a:pt x="872074" y="210522"/>
                    </a:lnTo>
                    <a:close/>
                  </a:path>
                </a:pathLst>
              </a:custGeom>
              <a:solidFill>
                <a:srgbClr val="004C7D"/>
              </a:solidFill>
              <a:ln w="10508" cap="flat">
                <a:noFill/>
                <a:prstDash val="solid"/>
                <a:miter/>
              </a:ln>
            </p:spPr>
            <p:txBody>
              <a:bodyPr rtlCol="0" anchor="ctr"/>
              <a:lstStyle/>
              <a:p>
                <a:endParaRPr lang="nl-NL"/>
              </a:p>
            </p:txBody>
          </p:sp>
          <p:sp>
            <p:nvSpPr>
              <p:cNvPr id="80" name="Freeform: Shape 79">
                <a:extLst>
                  <a:ext uri="{FF2B5EF4-FFF2-40B4-BE49-F238E27FC236}">
                    <a16:creationId xmlns:a16="http://schemas.microsoft.com/office/drawing/2014/main" id="{598AA7EF-DACA-47F5-A4C3-CFAE3F890AD3}"/>
                  </a:ext>
                </a:extLst>
              </p:cNvPr>
              <p:cNvSpPr/>
              <p:nvPr/>
            </p:nvSpPr>
            <p:spPr>
              <a:xfrm>
                <a:off x="3058112" y="1456923"/>
                <a:ext cx="369550" cy="61020"/>
              </a:xfrm>
              <a:custGeom>
                <a:avLst/>
                <a:gdLst>
                  <a:gd name="connsiteX0" fmla="*/ 367325 w 369550"/>
                  <a:gd name="connsiteY0" fmla="*/ 4734 h 61020"/>
                  <a:gd name="connsiteX1" fmla="*/ 358067 w 369550"/>
                  <a:gd name="connsiteY1" fmla="*/ 0 h 61020"/>
                  <a:gd name="connsiteX2" fmla="*/ 11404 w 369550"/>
                  <a:gd name="connsiteY2" fmla="*/ 0 h 61020"/>
                  <a:gd name="connsiteX3" fmla="*/ 2146 w 369550"/>
                  <a:gd name="connsiteY3" fmla="*/ 4734 h 61020"/>
                  <a:gd name="connsiteX4" fmla="*/ 673 w 369550"/>
                  <a:gd name="connsiteY4" fmla="*/ 15045 h 61020"/>
                  <a:gd name="connsiteX5" fmla="*/ 13824 w 369550"/>
                  <a:gd name="connsiteY5" fmla="*/ 53341 h 61020"/>
                  <a:gd name="connsiteX6" fmla="*/ 24661 w 369550"/>
                  <a:gd name="connsiteY6" fmla="*/ 61021 h 61020"/>
                  <a:gd name="connsiteX7" fmla="*/ 344915 w 369550"/>
                  <a:gd name="connsiteY7" fmla="*/ 61021 h 61020"/>
                  <a:gd name="connsiteX8" fmla="*/ 355752 w 369550"/>
                  <a:gd name="connsiteY8" fmla="*/ 53341 h 61020"/>
                  <a:gd name="connsiteX9" fmla="*/ 368903 w 369550"/>
                  <a:gd name="connsiteY9" fmla="*/ 15045 h 61020"/>
                  <a:gd name="connsiteX10" fmla="*/ 367430 w 369550"/>
                  <a:gd name="connsiteY10" fmla="*/ 4734 h 6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9550" h="61020">
                    <a:moveTo>
                      <a:pt x="367325" y="4734"/>
                    </a:moveTo>
                    <a:cubicBezTo>
                      <a:pt x="365115" y="1683"/>
                      <a:pt x="361749" y="0"/>
                      <a:pt x="358067" y="0"/>
                    </a:cubicBezTo>
                    <a:lnTo>
                      <a:pt x="11404" y="0"/>
                    </a:lnTo>
                    <a:cubicBezTo>
                      <a:pt x="7617" y="0"/>
                      <a:pt x="4250" y="1789"/>
                      <a:pt x="2146" y="4734"/>
                    </a:cubicBezTo>
                    <a:cubicBezTo>
                      <a:pt x="-63" y="7785"/>
                      <a:pt x="-589" y="11573"/>
                      <a:pt x="673" y="15045"/>
                    </a:cubicBezTo>
                    <a:lnTo>
                      <a:pt x="13824" y="53341"/>
                    </a:lnTo>
                    <a:cubicBezTo>
                      <a:pt x="15402" y="57970"/>
                      <a:pt x="19716" y="61021"/>
                      <a:pt x="24661" y="61021"/>
                    </a:cubicBezTo>
                    <a:lnTo>
                      <a:pt x="344915" y="61021"/>
                    </a:lnTo>
                    <a:cubicBezTo>
                      <a:pt x="349755" y="61021"/>
                      <a:pt x="354174" y="57970"/>
                      <a:pt x="355752" y="53341"/>
                    </a:cubicBezTo>
                    <a:lnTo>
                      <a:pt x="368903" y="15045"/>
                    </a:lnTo>
                    <a:cubicBezTo>
                      <a:pt x="370165" y="11468"/>
                      <a:pt x="369534" y="7785"/>
                      <a:pt x="367430" y="4734"/>
                    </a:cubicBezTo>
                    <a:close/>
                  </a:path>
                </a:pathLst>
              </a:custGeom>
              <a:solidFill>
                <a:srgbClr val="009FE3"/>
              </a:solidFill>
              <a:ln w="10508" cap="flat">
                <a:noFill/>
                <a:prstDash val="solid"/>
                <a:miter/>
              </a:ln>
            </p:spPr>
            <p:txBody>
              <a:bodyPr rtlCol="0" anchor="ctr"/>
              <a:lstStyle/>
              <a:p>
                <a:endParaRPr lang="nl-NL"/>
              </a:p>
            </p:txBody>
          </p:sp>
          <p:sp>
            <p:nvSpPr>
              <p:cNvPr id="81" name="Freeform: Shape 80">
                <a:extLst>
                  <a:ext uri="{FF2B5EF4-FFF2-40B4-BE49-F238E27FC236}">
                    <a16:creationId xmlns:a16="http://schemas.microsoft.com/office/drawing/2014/main" id="{4699E031-1B0D-4D50-B990-A4C848F878EA}"/>
                  </a:ext>
                </a:extLst>
              </p:cNvPr>
              <p:cNvSpPr/>
              <p:nvPr/>
            </p:nvSpPr>
            <p:spPr>
              <a:xfrm>
                <a:off x="3144504" y="1065863"/>
                <a:ext cx="197634" cy="343295"/>
              </a:xfrm>
              <a:custGeom>
                <a:avLst/>
                <a:gdLst>
                  <a:gd name="connsiteX0" fmla="*/ 192242 w 197634"/>
                  <a:gd name="connsiteY0" fmla="*/ 192742 h 343295"/>
                  <a:gd name="connsiteX1" fmla="*/ 123331 w 197634"/>
                  <a:gd name="connsiteY1" fmla="*/ 91005 h 343295"/>
                  <a:gd name="connsiteX2" fmla="*/ 117860 w 197634"/>
                  <a:gd name="connsiteY2" fmla="*/ 84798 h 343295"/>
                  <a:gd name="connsiteX3" fmla="*/ 143005 w 197634"/>
                  <a:gd name="connsiteY3" fmla="*/ 44714 h 343295"/>
                  <a:gd name="connsiteX4" fmla="*/ 98291 w 197634"/>
                  <a:gd name="connsiteY4" fmla="*/ 0 h 343295"/>
                  <a:gd name="connsiteX5" fmla="*/ 53577 w 197634"/>
                  <a:gd name="connsiteY5" fmla="*/ 44714 h 343295"/>
                  <a:gd name="connsiteX6" fmla="*/ 79248 w 197634"/>
                  <a:gd name="connsiteY6" fmla="*/ 85009 h 343295"/>
                  <a:gd name="connsiteX7" fmla="*/ 74198 w 197634"/>
                  <a:gd name="connsiteY7" fmla="*/ 90900 h 343295"/>
                  <a:gd name="connsiteX8" fmla="*/ 5287 w 197634"/>
                  <a:gd name="connsiteY8" fmla="*/ 192637 h 343295"/>
                  <a:gd name="connsiteX9" fmla="*/ 5287 w 197634"/>
                  <a:gd name="connsiteY9" fmla="*/ 227776 h 343295"/>
                  <a:gd name="connsiteX10" fmla="*/ 74198 w 197634"/>
                  <a:gd name="connsiteY10" fmla="*/ 329513 h 343295"/>
                  <a:gd name="connsiteX11" fmla="*/ 98817 w 197634"/>
                  <a:gd name="connsiteY11" fmla="*/ 343295 h 343295"/>
                  <a:gd name="connsiteX12" fmla="*/ 123436 w 197634"/>
                  <a:gd name="connsiteY12" fmla="*/ 329513 h 343295"/>
                  <a:gd name="connsiteX13" fmla="*/ 192347 w 197634"/>
                  <a:gd name="connsiteY13" fmla="*/ 227776 h 343295"/>
                  <a:gd name="connsiteX14" fmla="*/ 192347 w 197634"/>
                  <a:gd name="connsiteY14" fmla="*/ 192637 h 3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634" h="343295">
                    <a:moveTo>
                      <a:pt x="192242" y="192742"/>
                    </a:moveTo>
                    <a:lnTo>
                      <a:pt x="123331" y="91005"/>
                    </a:lnTo>
                    <a:cubicBezTo>
                      <a:pt x="121753" y="88586"/>
                      <a:pt x="119859" y="86587"/>
                      <a:pt x="117860" y="84798"/>
                    </a:cubicBezTo>
                    <a:cubicBezTo>
                      <a:pt x="132694" y="77539"/>
                      <a:pt x="143005" y="62389"/>
                      <a:pt x="143005" y="44714"/>
                    </a:cubicBezTo>
                    <a:cubicBezTo>
                      <a:pt x="143005" y="19990"/>
                      <a:pt x="123015" y="0"/>
                      <a:pt x="98291" y="0"/>
                    </a:cubicBezTo>
                    <a:cubicBezTo>
                      <a:pt x="73567" y="0"/>
                      <a:pt x="53577" y="19990"/>
                      <a:pt x="53577" y="44714"/>
                    </a:cubicBezTo>
                    <a:cubicBezTo>
                      <a:pt x="53577" y="62599"/>
                      <a:pt x="64098" y="77854"/>
                      <a:pt x="79248" y="85009"/>
                    </a:cubicBezTo>
                    <a:cubicBezTo>
                      <a:pt x="77355" y="86692"/>
                      <a:pt x="75671" y="88691"/>
                      <a:pt x="74198" y="90900"/>
                    </a:cubicBezTo>
                    <a:lnTo>
                      <a:pt x="5287" y="192637"/>
                    </a:lnTo>
                    <a:cubicBezTo>
                      <a:pt x="-1762" y="202947"/>
                      <a:pt x="-1762" y="217466"/>
                      <a:pt x="5287" y="227776"/>
                    </a:cubicBezTo>
                    <a:lnTo>
                      <a:pt x="74198" y="329513"/>
                    </a:lnTo>
                    <a:cubicBezTo>
                      <a:pt x="80090" y="338245"/>
                      <a:pt x="89138" y="343295"/>
                      <a:pt x="98817" y="343295"/>
                    </a:cubicBezTo>
                    <a:cubicBezTo>
                      <a:pt x="108496" y="343295"/>
                      <a:pt x="117439" y="338245"/>
                      <a:pt x="123436" y="329513"/>
                    </a:cubicBezTo>
                    <a:lnTo>
                      <a:pt x="192347" y="227776"/>
                    </a:lnTo>
                    <a:cubicBezTo>
                      <a:pt x="199396" y="217466"/>
                      <a:pt x="199396" y="202947"/>
                      <a:pt x="192347" y="192637"/>
                    </a:cubicBezTo>
                    <a:close/>
                  </a:path>
                </a:pathLst>
              </a:custGeom>
              <a:solidFill>
                <a:srgbClr val="009FE3"/>
              </a:solidFill>
              <a:ln w="10508" cap="flat">
                <a:noFill/>
                <a:prstDash val="solid"/>
                <a:miter/>
              </a:ln>
            </p:spPr>
            <p:txBody>
              <a:bodyPr rtlCol="0" anchor="ctr"/>
              <a:lstStyle/>
              <a:p>
                <a:endParaRPr lang="nl-NL"/>
              </a:p>
            </p:txBody>
          </p:sp>
        </p:grpSp>
        <p:grpSp>
          <p:nvGrpSpPr>
            <p:cNvPr id="38" name="Graphic 3">
              <a:extLst>
                <a:ext uri="{FF2B5EF4-FFF2-40B4-BE49-F238E27FC236}">
                  <a16:creationId xmlns:a16="http://schemas.microsoft.com/office/drawing/2014/main" id="{4754D241-8F0F-42A6-94E3-BEB58AC886BE}"/>
                </a:ext>
              </a:extLst>
            </p:cNvPr>
            <p:cNvGrpSpPr/>
            <p:nvPr/>
          </p:nvGrpSpPr>
          <p:grpSpPr>
            <a:xfrm>
              <a:off x="4679312" y="1368864"/>
              <a:ext cx="1730890" cy="897744"/>
              <a:chOff x="4679312" y="1368864"/>
              <a:chExt cx="1730890" cy="897744"/>
            </a:xfrm>
            <a:solidFill>
              <a:srgbClr val="004C7D"/>
            </a:solidFill>
          </p:grpSpPr>
          <p:sp>
            <p:nvSpPr>
              <p:cNvPr id="40" name="Freeform: Shape 39">
                <a:extLst>
                  <a:ext uri="{FF2B5EF4-FFF2-40B4-BE49-F238E27FC236}">
                    <a16:creationId xmlns:a16="http://schemas.microsoft.com/office/drawing/2014/main" id="{15210B61-A6D0-4815-86A9-EA6F90DDFF86}"/>
                  </a:ext>
                </a:extLst>
              </p:cNvPr>
              <p:cNvSpPr/>
              <p:nvPr/>
            </p:nvSpPr>
            <p:spPr>
              <a:xfrm>
                <a:off x="4679312" y="1383488"/>
                <a:ext cx="174435" cy="201789"/>
              </a:xfrm>
              <a:custGeom>
                <a:avLst/>
                <a:gdLst>
                  <a:gd name="connsiteX0" fmla="*/ 157813 w 174435"/>
                  <a:gd name="connsiteY0" fmla="*/ 201790 h 201789"/>
                  <a:gd name="connsiteX1" fmla="*/ 130669 w 174435"/>
                  <a:gd name="connsiteY1" fmla="*/ 182326 h 201789"/>
                  <a:gd name="connsiteX2" fmla="*/ 125093 w 174435"/>
                  <a:gd name="connsiteY2" fmla="*/ 150238 h 201789"/>
                  <a:gd name="connsiteX3" fmla="*/ 44714 w 174435"/>
                  <a:gd name="connsiteY3" fmla="*/ 150238 h 201789"/>
                  <a:gd name="connsiteX4" fmla="*/ 34088 w 174435"/>
                  <a:gd name="connsiteY4" fmla="*/ 201790 h 201789"/>
                  <a:gd name="connsiteX5" fmla="*/ 18517 w 174435"/>
                  <a:gd name="connsiteY5" fmla="*/ 201790 h 201789"/>
                  <a:gd name="connsiteX6" fmla="*/ 0 w 174435"/>
                  <a:gd name="connsiteY6" fmla="*/ 182326 h 201789"/>
                  <a:gd name="connsiteX7" fmla="*/ 68596 w 174435"/>
                  <a:gd name="connsiteY7" fmla="*/ 0 h 201789"/>
                  <a:gd name="connsiteX8" fmla="*/ 85114 w 174435"/>
                  <a:gd name="connsiteY8" fmla="*/ 0 h 201789"/>
                  <a:gd name="connsiteX9" fmla="*/ 117834 w 174435"/>
                  <a:gd name="connsiteY9" fmla="*/ 18517 h 201789"/>
                  <a:gd name="connsiteX10" fmla="*/ 174436 w 174435"/>
                  <a:gd name="connsiteY10" fmla="*/ 201790 h 201789"/>
                  <a:gd name="connsiteX11" fmla="*/ 157918 w 174435"/>
                  <a:gd name="connsiteY11" fmla="*/ 201790 h 201789"/>
                  <a:gd name="connsiteX12" fmla="*/ 84798 w 174435"/>
                  <a:gd name="connsiteY12" fmla="*/ 37139 h 201789"/>
                  <a:gd name="connsiteX13" fmla="*/ 53551 w 174435"/>
                  <a:gd name="connsiteY13" fmla="*/ 118149 h 201789"/>
                  <a:gd name="connsiteX14" fmla="*/ 116045 w 174435"/>
                  <a:gd name="connsiteY14" fmla="*/ 118149 h 201789"/>
                  <a:gd name="connsiteX15" fmla="*/ 84798 w 174435"/>
                  <a:gd name="connsiteY15" fmla="*/ 37139 h 20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435" h="201789">
                    <a:moveTo>
                      <a:pt x="157813" y="201790"/>
                    </a:moveTo>
                    <a:cubicBezTo>
                      <a:pt x="140980" y="201790"/>
                      <a:pt x="132142" y="192111"/>
                      <a:pt x="130669" y="182326"/>
                    </a:cubicBezTo>
                    <a:cubicBezTo>
                      <a:pt x="128880" y="169070"/>
                      <a:pt x="127092" y="158760"/>
                      <a:pt x="125093" y="150238"/>
                    </a:cubicBezTo>
                    <a:lnTo>
                      <a:pt x="44714" y="150238"/>
                    </a:lnTo>
                    <a:cubicBezTo>
                      <a:pt x="40611" y="167282"/>
                      <a:pt x="37033" y="184746"/>
                      <a:pt x="34088" y="201790"/>
                    </a:cubicBezTo>
                    <a:lnTo>
                      <a:pt x="18517" y="201790"/>
                    </a:lnTo>
                    <a:cubicBezTo>
                      <a:pt x="5260" y="201790"/>
                      <a:pt x="0" y="194741"/>
                      <a:pt x="0" y="182326"/>
                    </a:cubicBezTo>
                    <a:cubicBezTo>
                      <a:pt x="0" y="153184"/>
                      <a:pt x="37665" y="34403"/>
                      <a:pt x="68596" y="0"/>
                    </a:cubicBezTo>
                    <a:lnTo>
                      <a:pt x="85114" y="0"/>
                    </a:lnTo>
                    <a:cubicBezTo>
                      <a:pt x="101316" y="0"/>
                      <a:pt x="112257" y="8838"/>
                      <a:pt x="117834" y="18517"/>
                    </a:cubicBezTo>
                    <a:cubicBezTo>
                      <a:pt x="136140" y="51237"/>
                      <a:pt x="166440" y="138139"/>
                      <a:pt x="174436" y="201790"/>
                    </a:cubicBezTo>
                    <a:lnTo>
                      <a:pt x="157918" y="201790"/>
                    </a:lnTo>
                    <a:close/>
                    <a:moveTo>
                      <a:pt x="84798" y="37139"/>
                    </a:moveTo>
                    <a:cubicBezTo>
                      <a:pt x="73015" y="58075"/>
                      <a:pt x="60390" y="90164"/>
                      <a:pt x="53551" y="118149"/>
                    </a:cubicBezTo>
                    <a:lnTo>
                      <a:pt x="116045" y="118149"/>
                    </a:lnTo>
                    <a:cubicBezTo>
                      <a:pt x="109312" y="89848"/>
                      <a:pt x="95424" y="55971"/>
                      <a:pt x="84798" y="37139"/>
                    </a:cubicBezTo>
                    <a:close/>
                  </a:path>
                </a:pathLst>
              </a:custGeom>
              <a:solidFill>
                <a:srgbClr val="004C7D"/>
              </a:solidFill>
              <a:ln w="10508" cap="flat">
                <a:noFill/>
                <a:prstDash val="solid"/>
                <a:miter/>
              </a:ln>
            </p:spPr>
            <p:txBody>
              <a:bodyPr rtlCol="0" anchor="ctr"/>
              <a:lstStyle/>
              <a:p>
                <a:endParaRPr lang="nl-NL"/>
              </a:p>
            </p:txBody>
          </p:sp>
          <p:sp>
            <p:nvSpPr>
              <p:cNvPr id="41" name="Freeform: Shape 40">
                <a:extLst>
                  <a:ext uri="{FF2B5EF4-FFF2-40B4-BE49-F238E27FC236}">
                    <a16:creationId xmlns:a16="http://schemas.microsoft.com/office/drawing/2014/main" id="{27BD2435-6C68-4A57-B73C-23ECD61D6AA8}"/>
                  </a:ext>
                </a:extLst>
              </p:cNvPr>
              <p:cNvSpPr/>
              <p:nvPr/>
            </p:nvSpPr>
            <p:spPr>
              <a:xfrm>
                <a:off x="4866373"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8" y="43556"/>
                      <a:pt x="107313" y="36192"/>
                      <a:pt x="84588" y="36192"/>
                    </a:cubicBezTo>
                    <a:cubicBezTo>
                      <a:pt x="61863" y="36192"/>
                      <a:pt x="41242" y="54708"/>
                      <a:pt x="41242" y="78275"/>
                    </a:cubicBezTo>
                    <a:cubicBezTo>
                      <a:pt x="41242" y="107102"/>
                      <a:pt x="58286"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42" name="Freeform: Shape 41">
                <a:extLst>
                  <a:ext uri="{FF2B5EF4-FFF2-40B4-BE49-F238E27FC236}">
                    <a16:creationId xmlns:a16="http://schemas.microsoft.com/office/drawing/2014/main" id="{7C73B766-1158-4B30-9337-18FD1F68B049}"/>
                  </a:ext>
                </a:extLst>
              </p:cNvPr>
              <p:cNvSpPr/>
              <p:nvPr/>
            </p:nvSpPr>
            <p:spPr>
              <a:xfrm>
                <a:off x="5014928" y="1424729"/>
                <a:ext cx="129090" cy="163494"/>
              </a:xfrm>
              <a:custGeom>
                <a:avLst/>
                <a:gdLst>
                  <a:gd name="connsiteX0" fmla="*/ 127618 w 129090"/>
                  <a:gd name="connsiteY0" fmla="*/ 52710 h 163494"/>
                  <a:gd name="connsiteX1" fmla="*/ 84588 w 129090"/>
                  <a:gd name="connsiteY1" fmla="*/ 36192 h 163494"/>
                  <a:gd name="connsiteX2" fmla="*/ 41242 w 129090"/>
                  <a:gd name="connsiteY2" fmla="*/ 78275 h 163494"/>
                  <a:gd name="connsiteX3" fmla="*/ 85114 w 129090"/>
                  <a:gd name="connsiteY3" fmla="*/ 126882 h 163494"/>
                  <a:gd name="connsiteX4" fmla="*/ 126987 w 129090"/>
                  <a:gd name="connsiteY4" fmla="*/ 112152 h 163494"/>
                  <a:gd name="connsiteX5" fmla="*/ 128460 w 129090"/>
                  <a:gd name="connsiteY5" fmla="*/ 112152 h 163494"/>
                  <a:gd name="connsiteX6" fmla="*/ 128460 w 129090"/>
                  <a:gd name="connsiteY6" fmla="*/ 130459 h 163494"/>
                  <a:gd name="connsiteX7" fmla="*/ 81326 w 129090"/>
                  <a:gd name="connsiteY7" fmla="*/ 163494 h 163494"/>
                  <a:gd name="connsiteX8" fmla="*/ 0 w 129090"/>
                  <a:gd name="connsiteY8" fmla="*/ 84272 h 163494"/>
                  <a:gd name="connsiteX9" fmla="*/ 85745 w 129090"/>
                  <a:gd name="connsiteY9" fmla="*/ 0 h 163494"/>
                  <a:gd name="connsiteX10" fmla="*/ 129091 w 129090"/>
                  <a:gd name="connsiteY10" fmla="*/ 34193 h 163494"/>
                  <a:gd name="connsiteX11" fmla="*/ 129091 w 129090"/>
                  <a:gd name="connsiteY11" fmla="*/ 52710 h 163494"/>
                  <a:gd name="connsiteX12" fmla="*/ 127618 w 129090"/>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0" h="163494">
                    <a:moveTo>
                      <a:pt x="127618" y="52710"/>
                    </a:moveTo>
                    <a:cubicBezTo>
                      <a:pt x="122357" y="43556"/>
                      <a:pt x="107313" y="36192"/>
                      <a:pt x="84588" y="36192"/>
                    </a:cubicBezTo>
                    <a:cubicBezTo>
                      <a:pt x="61863" y="36192"/>
                      <a:pt x="41242" y="54708"/>
                      <a:pt x="41242" y="78275"/>
                    </a:cubicBezTo>
                    <a:cubicBezTo>
                      <a:pt x="41242" y="107102"/>
                      <a:pt x="58285" y="126882"/>
                      <a:pt x="85114" y="126882"/>
                    </a:cubicBezTo>
                    <a:cubicBezTo>
                      <a:pt x="107839" y="126882"/>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0"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43" name="Freeform: Shape 42">
                <a:extLst>
                  <a:ext uri="{FF2B5EF4-FFF2-40B4-BE49-F238E27FC236}">
                    <a16:creationId xmlns:a16="http://schemas.microsoft.com/office/drawing/2014/main" id="{966B0C7A-3442-4556-BA5B-4B34526EC2D5}"/>
                  </a:ext>
                </a:extLst>
              </p:cNvPr>
              <p:cNvSpPr/>
              <p:nvPr/>
            </p:nvSpPr>
            <p:spPr>
              <a:xfrm>
                <a:off x="5164324"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44" name="Freeform: Shape 43">
                <a:extLst>
                  <a:ext uri="{FF2B5EF4-FFF2-40B4-BE49-F238E27FC236}">
                    <a16:creationId xmlns:a16="http://schemas.microsoft.com/office/drawing/2014/main" id="{C07C8795-0831-4A72-8BF0-0B3965F0C466}"/>
                  </a:ext>
                </a:extLst>
              </p:cNvPr>
              <p:cNvSpPr/>
              <p:nvPr/>
            </p:nvSpPr>
            <p:spPr>
              <a:xfrm>
                <a:off x="5335393" y="1373177"/>
                <a:ext cx="76907" cy="213573"/>
              </a:xfrm>
              <a:custGeom>
                <a:avLst/>
                <a:gdLst>
                  <a:gd name="connsiteX0" fmla="*/ 50395 w 76907"/>
                  <a:gd name="connsiteY0" fmla="*/ 213573 h 213573"/>
                  <a:gd name="connsiteX1" fmla="*/ 0 w 76907"/>
                  <a:gd name="connsiteY1" fmla="*/ 164125 h 213573"/>
                  <a:gd name="connsiteX2" fmla="*/ 0 w 76907"/>
                  <a:gd name="connsiteY2" fmla="*/ 0 h 213573"/>
                  <a:gd name="connsiteX3" fmla="*/ 11152 w 76907"/>
                  <a:gd name="connsiteY3" fmla="*/ 0 h 213573"/>
                  <a:gd name="connsiteX4" fmla="*/ 39453 w 76907"/>
                  <a:gd name="connsiteY4" fmla="*/ 26513 h 213573"/>
                  <a:gd name="connsiteX5" fmla="*/ 39453 w 76907"/>
                  <a:gd name="connsiteY5" fmla="*/ 160233 h 213573"/>
                  <a:gd name="connsiteX6" fmla="*/ 66281 w 76907"/>
                  <a:gd name="connsiteY6" fmla="*/ 181169 h 213573"/>
                  <a:gd name="connsiteX7" fmla="*/ 76907 w 76907"/>
                  <a:gd name="connsiteY7" fmla="*/ 181169 h 213573"/>
                  <a:gd name="connsiteX8" fmla="*/ 76907 w 76907"/>
                  <a:gd name="connsiteY8" fmla="*/ 189691 h 213573"/>
                  <a:gd name="connsiteX9" fmla="*/ 50395 w 76907"/>
                  <a:gd name="connsiteY9" fmla="*/ 213573 h 21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07" h="213573">
                    <a:moveTo>
                      <a:pt x="50395" y="213573"/>
                    </a:moveTo>
                    <a:cubicBezTo>
                      <a:pt x="17675" y="213573"/>
                      <a:pt x="0" y="196214"/>
                      <a:pt x="0" y="164125"/>
                    </a:cubicBezTo>
                    <a:lnTo>
                      <a:pt x="0" y="0"/>
                    </a:lnTo>
                    <a:lnTo>
                      <a:pt x="11152" y="0"/>
                    </a:lnTo>
                    <a:cubicBezTo>
                      <a:pt x="30931" y="0"/>
                      <a:pt x="39453" y="11468"/>
                      <a:pt x="39453" y="26513"/>
                    </a:cubicBezTo>
                    <a:lnTo>
                      <a:pt x="39453" y="160233"/>
                    </a:lnTo>
                    <a:cubicBezTo>
                      <a:pt x="39453" y="176119"/>
                      <a:pt x="47659" y="181169"/>
                      <a:pt x="66281" y="181169"/>
                    </a:cubicBezTo>
                    <a:lnTo>
                      <a:pt x="76907" y="181169"/>
                    </a:lnTo>
                    <a:lnTo>
                      <a:pt x="76907" y="189691"/>
                    </a:lnTo>
                    <a:cubicBezTo>
                      <a:pt x="76907" y="206735"/>
                      <a:pt x="67754" y="213573"/>
                      <a:pt x="50395" y="213573"/>
                    </a:cubicBezTo>
                    <a:close/>
                  </a:path>
                </a:pathLst>
              </a:custGeom>
              <a:solidFill>
                <a:srgbClr val="004C7D"/>
              </a:solidFill>
              <a:ln w="10508" cap="flat">
                <a:noFill/>
                <a:prstDash val="solid"/>
                <a:miter/>
              </a:ln>
            </p:spPr>
            <p:txBody>
              <a:bodyPr rtlCol="0" anchor="ctr"/>
              <a:lstStyle/>
              <a:p>
                <a:endParaRPr lang="nl-NL"/>
              </a:p>
            </p:txBody>
          </p:sp>
          <p:sp>
            <p:nvSpPr>
              <p:cNvPr id="45" name="Freeform: Shape 44">
                <a:extLst>
                  <a:ext uri="{FF2B5EF4-FFF2-40B4-BE49-F238E27FC236}">
                    <a16:creationId xmlns:a16="http://schemas.microsoft.com/office/drawing/2014/main" id="{8D72B4BD-DD36-44B6-A022-BCFC1FFBF8AE}"/>
                  </a:ext>
                </a:extLst>
              </p:cNvPr>
              <p:cNvSpPr/>
              <p:nvPr/>
            </p:nvSpPr>
            <p:spPr>
              <a:xfrm>
                <a:off x="5422295" y="1422730"/>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2 w 141400"/>
                  <a:gd name="connsiteY10" fmla="*/ 100159 h 166124"/>
                  <a:gd name="connsiteX11" fmla="*/ 74172 w 141400"/>
                  <a:gd name="connsiteY11" fmla="*/ 32930 h 166124"/>
                  <a:gd name="connsiteX12" fmla="*/ 40926 w 141400"/>
                  <a:gd name="connsiteY12" fmla="*/ 66807 h 166124"/>
                  <a:gd name="connsiteX13" fmla="*/ 40610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0" y="129512"/>
                      <a:pt x="134036" y="117728"/>
                    </a:cubicBezTo>
                    <a:lnTo>
                      <a:pt x="135509" y="117728"/>
                    </a:lnTo>
                    <a:lnTo>
                      <a:pt x="135509" y="130143"/>
                    </a:lnTo>
                    <a:cubicBezTo>
                      <a:pt x="135509" y="150448"/>
                      <a:pt x="121621" y="166124"/>
                      <a:pt x="78065" y="166124"/>
                    </a:cubicBezTo>
                    <a:cubicBezTo>
                      <a:pt x="38611" y="166124"/>
                      <a:pt x="0" y="134877"/>
                      <a:pt x="0" y="86271"/>
                    </a:cubicBezTo>
                    <a:cubicBezTo>
                      <a:pt x="0" y="33246"/>
                      <a:pt x="32404" y="0"/>
                      <a:pt x="77749" y="0"/>
                    </a:cubicBezTo>
                    <a:cubicBezTo>
                      <a:pt x="110785" y="0"/>
                      <a:pt x="141400" y="23567"/>
                      <a:pt x="141400" y="61547"/>
                    </a:cubicBezTo>
                    <a:cubicBezTo>
                      <a:pt x="141400" y="90690"/>
                      <a:pt x="119306" y="100159"/>
                      <a:pt x="66912" y="100159"/>
                    </a:cubicBezTo>
                    <a:close/>
                    <a:moveTo>
                      <a:pt x="74172" y="32930"/>
                    </a:moveTo>
                    <a:cubicBezTo>
                      <a:pt x="55024" y="32930"/>
                      <a:pt x="41768" y="48501"/>
                      <a:pt x="40926" y="66807"/>
                    </a:cubicBezTo>
                    <a:lnTo>
                      <a:pt x="40610"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46" name="Freeform: Shape 45">
                <a:extLst>
                  <a:ext uri="{FF2B5EF4-FFF2-40B4-BE49-F238E27FC236}">
                    <a16:creationId xmlns:a16="http://schemas.microsoft.com/office/drawing/2014/main" id="{7CCED42D-61FC-4129-B5F5-41E07DE7B79F}"/>
                  </a:ext>
                </a:extLst>
              </p:cNvPr>
              <p:cNvSpPr/>
              <p:nvPr/>
            </p:nvSpPr>
            <p:spPr>
              <a:xfrm>
                <a:off x="5592312" y="1424729"/>
                <a:ext cx="91636" cy="160548"/>
              </a:xfrm>
              <a:custGeom>
                <a:avLst/>
                <a:gdLst>
                  <a:gd name="connsiteX0" fmla="*/ 90058 w 91636"/>
                  <a:gd name="connsiteY0" fmla="*/ 40084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4"/>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solidFill>
                <a:srgbClr val="004C7D"/>
              </a:solidFill>
              <a:ln w="10508" cap="flat">
                <a:noFill/>
                <a:prstDash val="solid"/>
                <a:miter/>
              </a:ln>
            </p:spPr>
            <p:txBody>
              <a:bodyPr rtlCol="0" anchor="ctr"/>
              <a:lstStyle/>
              <a:p>
                <a:endParaRPr lang="nl-NL"/>
              </a:p>
            </p:txBody>
          </p:sp>
          <p:sp>
            <p:nvSpPr>
              <p:cNvPr id="47" name="Freeform: Shape 46">
                <a:extLst>
                  <a:ext uri="{FF2B5EF4-FFF2-40B4-BE49-F238E27FC236}">
                    <a16:creationId xmlns:a16="http://schemas.microsoft.com/office/drawing/2014/main" id="{6CA9512B-A359-4696-B5DC-96CC674CE240}"/>
                  </a:ext>
                </a:extLst>
              </p:cNvPr>
              <p:cNvSpPr/>
              <p:nvPr/>
            </p:nvSpPr>
            <p:spPr>
              <a:xfrm>
                <a:off x="5698046" y="1423256"/>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4 w 131615"/>
                  <a:gd name="connsiteY8" fmla="*/ 51552 h 164651"/>
                  <a:gd name="connsiteX9" fmla="*/ 6734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60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4" y="51552"/>
                    </a:lnTo>
                    <a:lnTo>
                      <a:pt x="6734" y="38927"/>
                    </a:lnTo>
                    <a:cubicBezTo>
                      <a:pt x="6734"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60" y="132563"/>
                    </a:cubicBezTo>
                    <a:cubicBezTo>
                      <a:pt x="85219" y="132563"/>
                      <a:pt x="93215" y="124356"/>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48" name="Freeform: Shape 47">
                <a:extLst>
                  <a:ext uri="{FF2B5EF4-FFF2-40B4-BE49-F238E27FC236}">
                    <a16:creationId xmlns:a16="http://schemas.microsoft.com/office/drawing/2014/main" id="{EFA380DC-3184-4DC1-AEA3-3408C0F48E4F}"/>
                  </a:ext>
                </a:extLst>
              </p:cNvPr>
              <p:cNvSpPr/>
              <p:nvPr/>
            </p:nvSpPr>
            <p:spPr>
              <a:xfrm>
                <a:off x="5861856" y="1390221"/>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6"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49" name="Freeform: Shape 48">
                <a:extLst>
                  <a:ext uri="{FF2B5EF4-FFF2-40B4-BE49-F238E27FC236}">
                    <a16:creationId xmlns:a16="http://schemas.microsoft.com/office/drawing/2014/main" id="{C3A25796-7E2C-4225-B870-11160A8B0777}"/>
                  </a:ext>
                </a:extLst>
              </p:cNvPr>
              <p:cNvSpPr/>
              <p:nvPr/>
            </p:nvSpPr>
            <p:spPr>
              <a:xfrm>
                <a:off x="5978112" y="1368864"/>
                <a:ext cx="74487" cy="217992"/>
              </a:xfrm>
              <a:custGeom>
                <a:avLst/>
                <a:gdLst>
                  <a:gd name="connsiteX0" fmla="*/ 22935 w 74487"/>
                  <a:gd name="connsiteY0" fmla="*/ 46187 h 217992"/>
                  <a:gd name="connsiteX1" fmla="*/ 0 w 74487"/>
                  <a:gd name="connsiteY1" fmla="*/ 22935 h 217992"/>
                  <a:gd name="connsiteX2" fmla="*/ 22935 w 74487"/>
                  <a:gd name="connsiteY2" fmla="*/ 0 h 217992"/>
                  <a:gd name="connsiteX3" fmla="*/ 46187 w 74487"/>
                  <a:gd name="connsiteY3" fmla="*/ 22935 h 217992"/>
                  <a:gd name="connsiteX4" fmla="*/ 22935 w 74487"/>
                  <a:gd name="connsiteY4" fmla="*/ 46187 h 217992"/>
                  <a:gd name="connsiteX5" fmla="*/ 50921 w 74487"/>
                  <a:gd name="connsiteY5" fmla="*/ 217887 h 217992"/>
                  <a:gd name="connsiteX6" fmla="*/ 3472 w 74487"/>
                  <a:gd name="connsiteY6" fmla="*/ 168439 h 217992"/>
                  <a:gd name="connsiteX7" fmla="*/ 3472 w 74487"/>
                  <a:gd name="connsiteY7" fmla="*/ 60916 h 217992"/>
                  <a:gd name="connsiteX8" fmla="*/ 14624 w 74487"/>
                  <a:gd name="connsiteY8" fmla="*/ 60916 h 217992"/>
                  <a:gd name="connsiteX9" fmla="*/ 42925 w 74487"/>
                  <a:gd name="connsiteY9" fmla="*/ 90374 h 217992"/>
                  <a:gd name="connsiteX10" fmla="*/ 42925 w 74487"/>
                  <a:gd name="connsiteY10" fmla="*/ 164651 h 217992"/>
                  <a:gd name="connsiteX11" fmla="*/ 67123 w 74487"/>
                  <a:gd name="connsiteY11" fmla="*/ 185588 h 217992"/>
                  <a:gd name="connsiteX12" fmla="*/ 74488 w 74487"/>
                  <a:gd name="connsiteY12" fmla="*/ 185588 h 217992"/>
                  <a:gd name="connsiteX13" fmla="*/ 74488 w 74487"/>
                  <a:gd name="connsiteY13" fmla="*/ 194110 h 217992"/>
                  <a:gd name="connsiteX14" fmla="*/ 50921 w 74487"/>
                  <a:gd name="connsiteY14" fmla="*/ 217992 h 21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487" h="217992">
                    <a:moveTo>
                      <a:pt x="22935" y="46187"/>
                    </a:moveTo>
                    <a:cubicBezTo>
                      <a:pt x="10311" y="46187"/>
                      <a:pt x="0" y="35561"/>
                      <a:pt x="0" y="22935"/>
                    </a:cubicBezTo>
                    <a:cubicBezTo>
                      <a:pt x="0" y="10310"/>
                      <a:pt x="10311" y="0"/>
                      <a:pt x="22935" y="0"/>
                    </a:cubicBezTo>
                    <a:cubicBezTo>
                      <a:pt x="35561" y="0"/>
                      <a:pt x="46187" y="10310"/>
                      <a:pt x="46187" y="22935"/>
                    </a:cubicBezTo>
                    <a:cubicBezTo>
                      <a:pt x="46187" y="35561"/>
                      <a:pt x="35561" y="46187"/>
                      <a:pt x="22935" y="46187"/>
                    </a:cubicBezTo>
                    <a:close/>
                    <a:moveTo>
                      <a:pt x="50921" y="217887"/>
                    </a:moveTo>
                    <a:cubicBezTo>
                      <a:pt x="20305" y="217887"/>
                      <a:pt x="3472" y="200527"/>
                      <a:pt x="3472" y="168439"/>
                    </a:cubicBezTo>
                    <a:lnTo>
                      <a:pt x="3472" y="60916"/>
                    </a:lnTo>
                    <a:lnTo>
                      <a:pt x="14624" y="60916"/>
                    </a:lnTo>
                    <a:cubicBezTo>
                      <a:pt x="32299" y="60916"/>
                      <a:pt x="42925" y="70385"/>
                      <a:pt x="42925" y="90374"/>
                    </a:cubicBezTo>
                    <a:lnTo>
                      <a:pt x="42925" y="164651"/>
                    </a:lnTo>
                    <a:cubicBezTo>
                      <a:pt x="42925" y="180538"/>
                      <a:pt x="49658" y="185588"/>
                      <a:pt x="67123" y="185588"/>
                    </a:cubicBezTo>
                    <a:lnTo>
                      <a:pt x="74488" y="185588"/>
                    </a:lnTo>
                    <a:lnTo>
                      <a:pt x="74488" y="194110"/>
                    </a:lnTo>
                    <a:cubicBezTo>
                      <a:pt x="74488" y="211154"/>
                      <a:pt x="67754" y="217992"/>
                      <a:pt x="50921" y="217992"/>
                    </a:cubicBezTo>
                    <a:close/>
                  </a:path>
                </a:pathLst>
              </a:custGeom>
              <a:solidFill>
                <a:srgbClr val="004C7D"/>
              </a:solidFill>
              <a:ln w="10508" cap="flat">
                <a:noFill/>
                <a:prstDash val="solid"/>
                <a:miter/>
              </a:ln>
            </p:spPr>
            <p:txBody>
              <a:bodyPr rtlCol="0" anchor="ctr"/>
              <a:lstStyle/>
              <a:p>
                <a:endParaRPr lang="nl-NL"/>
              </a:p>
            </p:txBody>
          </p:sp>
          <p:sp>
            <p:nvSpPr>
              <p:cNvPr id="50" name="Freeform: Shape 49">
                <a:extLst>
                  <a:ext uri="{FF2B5EF4-FFF2-40B4-BE49-F238E27FC236}">
                    <a16:creationId xmlns:a16="http://schemas.microsoft.com/office/drawing/2014/main" id="{EFB81055-D869-43A5-99E0-E2E6911E1D68}"/>
                  </a:ext>
                </a:extLst>
              </p:cNvPr>
              <p:cNvSpPr/>
              <p:nvPr/>
            </p:nvSpPr>
            <p:spPr>
              <a:xfrm>
                <a:off x="6073957" y="1422836"/>
                <a:ext cx="139927" cy="162547"/>
              </a:xfrm>
              <a:custGeom>
                <a:avLst/>
                <a:gdLst>
                  <a:gd name="connsiteX0" fmla="*/ 129196 w 139927"/>
                  <a:gd name="connsiteY0" fmla="*/ 162442 h 162547"/>
                  <a:gd name="connsiteX1" fmla="*/ 100369 w 139927"/>
                  <a:gd name="connsiteY1" fmla="*/ 136561 h 162547"/>
                  <a:gd name="connsiteX2" fmla="*/ 100369 w 139927"/>
                  <a:gd name="connsiteY2" fmla="*/ 73541 h 162547"/>
                  <a:gd name="connsiteX3" fmla="*/ 68280 w 139927"/>
                  <a:gd name="connsiteY3" fmla="*/ 34929 h 162547"/>
                  <a:gd name="connsiteX4" fmla="*/ 39453 w 139927"/>
                  <a:gd name="connsiteY4" fmla="*/ 70595 h 162547"/>
                  <a:gd name="connsiteX5" fmla="*/ 39453 w 139927"/>
                  <a:gd name="connsiteY5" fmla="*/ 162547 h 162547"/>
                  <a:gd name="connsiteX6" fmla="*/ 27670 w 139927"/>
                  <a:gd name="connsiteY6" fmla="*/ 162547 h 162547"/>
                  <a:gd name="connsiteX7" fmla="*/ 0 w 139927"/>
                  <a:gd name="connsiteY7" fmla="*/ 136666 h 162547"/>
                  <a:gd name="connsiteX8" fmla="*/ 0 w 139927"/>
                  <a:gd name="connsiteY8" fmla="*/ 68070 h 162547"/>
                  <a:gd name="connsiteX9" fmla="*/ 71542 w 139927"/>
                  <a:gd name="connsiteY9" fmla="*/ 0 h 162547"/>
                  <a:gd name="connsiteX10" fmla="*/ 139927 w 139927"/>
                  <a:gd name="connsiteY10" fmla="*/ 70069 h 162547"/>
                  <a:gd name="connsiteX11" fmla="*/ 139927 w 139927"/>
                  <a:gd name="connsiteY11" fmla="*/ 162547 h 162547"/>
                  <a:gd name="connsiteX12" fmla="*/ 129301 w 139927"/>
                  <a:gd name="connsiteY12" fmla="*/ 162547 h 16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927" h="162547">
                    <a:moveTo>
                      <a:pt x="129196" y="162442"/>
                    </a:moveTo>
                    <a:cubicBezTo>
                      <a:pt x="111521" y="162442"/>
                      <a:pt x="100369" y="151290"/>
                      <a:pt x="100369" y="136561"/>
                    </a:cubicBezTo>
                    <a:lnTo>
                      <a:pt x="100369" y="73541"/>
                    </a:lnTo>
                    <a:cubicBezTo>
                      <a:pt x="100369" y="46713"/>
                      <a:pt x="88585" y="34929"/>
                      <a:pt x="68280" y="34929"/>
                    </a:cubicBezTo>
                    <a:cubicBezTo>
                      <a:pt x="51237" y="34929"/>
                      <a:pt x="39453" y="47870"/>
                      <a:pt x="39453" y="70595"/>
                    </a:cubicBezTo>
                    <a:lnTo>
                      <a:pt x="39453" y="162547"/>
                    </a:lnTo>
                    <a:lnTo>
                      <a:pt x="27670" y="162547"/>
                    </a:lnTo>
                    <a:cubicBezTo>
                      <a:pt x="10836" y="162547"/>
                      <a:pt x="0" y="151395"/>
                      <a:pt x="0" y="136666"/>
                    </a:cubicBezTo>
                    <a:lnTo>
                      <a:pt x="0" y="68070"/>
                    </a:lnTo>
                    <a:cubicBezTo>
                      <a:pt x="0" y="34508"/>
                      <a:pt x="22094" y="0"/>
                      <a:pt x="71542" y="0"/>
                    </a:cubicBezTo>
                    <a:cubicBezTo>
                      <a:pt x="108996" y="0"/>
                      <a:pt x="139927" y="25040"/>
                      <a:pt x="139927" y="70069"/>
                    </a:cubicBezTo>
                    <a:lnTo>
                      <a:pt x="139927" y="162547"/>
                    </a:lnTo>
                    <a:lnTo>
                      <a:pt x="129301" y="162547"/>
                    </a:lnTo>
                    <a:close/>
                  </a:path>
                </a:pathLst>
              </a:custGeom>
              <a:solidFill>
                <a:srgbClr val="004C7D"/>
              </a:solidFill>
              <a:ln w="10508" cap="flat">
                <a:noFill/>
                <a:prstDash val="solid"/>
                <a:miter/>
              </a:ln>
            </p:spPr>
            <p:txBody>
              <a:bodyPr rtlCol="0" anchor="ctr"/>
              <a:lstStyle/>
              <a:p>
                <a:endParaRPr lang="nl-NL"/>
              </a:p>
            </p:txBody>
          </p:sp>
          <p:sp>
            <p:nvSpPr>
              <p:cNvPr id="51" name="Freeform: Shape 50">
                <a:extLst>
                  <a:ext uri="{FF2B5EF4-FFF2-40B4-BE49-F238E27FC236}">
                    <a16:creationId xmlns:a16="http://schemas.microsoft.com/office/drawing/2014/main" id="{4F3ED600-E2AA-49A3-A14D-66C75AE506E2}"/>
                  </a:ext>
                </a:extLst>
              </p:cNvPr>
              <p:cNvSpPr/>
              <p:nvPr/>
            </p:nvSpPr>
            <p:spPr>
              <a:xfrm>
                <a:off x="6241975" y="1422730"/>
                <a:ext cx="146660" cy="213783"/>
              </a:xfrm>
              <a:custGeom>
                <a:avLst/>
                <a:gdLst>
                  <a:gd name="connsiteX0" fmla="*/ 146029 w 146660"/>
                  <a:gd name="connsiteY0" fmla="*/ 118044 h 213783"/>
                  <a:gd name="connsiteX1" fmla="*/ 146661 w 146660"/>
                  <a:gd name="connsiteY1" fmla="*/ 138349 h 213783"/>
                  <a:gd name="connsiteX2" fmla="*/ 68911 w 146660"/>
                  <a:gd name="connsiteY2" fmla="*/ 213784 h 213783"/>
                  <a:gd name="connsiteX3" fmla="*/ 13782 w 146660"/>
                  <a:gd name="connsiteY3" fmla="*/ 179065 h 213783"/>
                  <a:gd name="connsiteX4" fmla="*/ 13782 w 146660"/>
                  <a:gd name="connsiteY4" fmla="*/ 161074 h 213783"/>
                  <a:gd name="connsiteX5" fmla="*/ 15571 w 146660"/>
                  <a:gd name="connsiteY5" fmla="*/ 161074 h 213783"/>
                  <a:gd name="connsiteX6" fmla="*/ 65966 w 146660"/>
                  <a:gd name="connsiteY6" fmla="*/ 178118 h 213783"/>
                  <a:gd name="connsiteX7" fmla="*/ 107523 w 146660"/>
                  <a:gd name="connsiteY7" fmla="*/ 141611 h 213783"/>
                  <a:gd name="connsiteX8" fmla="*/ 106892 w 146660"/>
                  <a:gd name="connsiteY8" fmla="*/ 125409 h 213783"/>
                  <a:gd name="connsiteX9" fmla="*/ 106892 w 146660"/>
                  <a:gd name="connsiteY9" fmla="*/ 121621 h 213783"/>
                  <a:gd name="connsiteX10" fmla="*/ 65966 w 146660"/>
                  <a:gd name="connsiteY10" fmla="*/ 145188 h 213783"/>
                  <a:gd name="connsiteX11" fmla="*/ 0 w 146660"/>
                  <a:gd name="connsiteY11" fmla="*/ 81011 h 213783"/>
                  <a:gd name="connsiteX12" fmla="*/ 80695 w 146660"/>
                  <a:gd name="connsiteY12" fmla="*/ 0 h 213783"/>
                  <a:gd name="connsiteX13" fmla="*/ 145503 w 146660"/>
                  <a:gd name="connsiteY13" fmla="*/ 69543 h 213783"/>
                  <a:gd name="connsiteX14" fmla="*/ 145503 w 146660"/>
                  <a:gd name="connsiteY14" fmla="*/ 96687 h 213783"/>
                  <a:gd name="connsiteX15" fmla="*/ 146135 w 146660"/>
                  <a:gd name="connsiteY15" fmla="*/ 118149 h 213783"/>
                  <a:gd name="connsiteX16" fmla="*/ 40610 w 146660"/>
                  <a:gd name="connsiteY16" fmla="*/ 75961 h 213783"/>
                  <a:gd name="connsiteX17" fmla="*/ 72173 w 146660"/>
                  <a:gd name="connsiteY17" fmla="*/ 111942 h 213783"/>
                  <a:gd name="connsiteX18" fmla="*/ 106050 w 146660"/>
                  <a:gd name="connsiteY18" fmla="*/ 71857 h 213783"/>
                  <a:gd name="connsiteX19" fmla="*/ 76276 w 146660"/>
                  <a:gd name="connsiteY19" fmla="*/ 35034 h 213783"/>
                  <a:gd name="connsiteX20" fmla="*/ 40610 w 146660"/>
                  <a:gd name="connsiteY20" fmla="*/ 75961 h 21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660" h="213783">
                    <a:moveTo>
                      <a:pt x="146029" y="118044"/>
                    </a:moveTo>
                    <a:cubicBezTo>
                      <a:pt x="146345" y="124567"/>
                      <a:pt x="146661" y="133089"/>
                      <a:pt x="146661" y="138349"/>
                    </a:cubicBezTo>
                    <a:cubicBezTo>
                      <a:pt x="146661" y="178118"/>
                      <a:pt x="120148" y="213784"/>
                      <a:pt x="68911" y="213784"/>
                    </a:cubicBezTo>
                    <a:cubicBezTo>
                      <a:pt x="36192" y="213784"/>
                      <a:pt x="13782" y="197897"/>
                      <a:pt x="13782" y="179065"/>
                    </a:cubicBezTo>
                    <a:lnTo>
                      <a:pt x="13782" y="161074"/>
                    </a:lnTo>
                    <a:lnTo>
                      <a:pt x="15571" y="161074"/>
                    </a:lnTo>
                    <a:cubicBezTo>
                      <a:pt x="25039" y="171069"/>
                      <a:pt x="43241" y="178118"/>
                      <a:pt x="65966" y="178118"/>
                    </a:cubicBezTo>
                    <a:cubicBezTo>
                      <a:pt x="94582" y="178118"/>
                      <a:pt x="108365" y="164546"/>
                      <a:pt x="107523" y="141611"/>
                    </a:cubicBezTo>
                    <a:lnTo>
                      <a:pt x="106892" y="125409"/>
                    </a:lnTo>
                    <a:lnTo>
                      <a:pt x="106892" y="121621"/>
                    </a:lnTo>
                    <a:cubicBezTo>
                      <a:pt x="103630" y="133089"/>
                      <a:pt x="88585" y="145188"/>
                      <a:pt x="65966" y="145188"/>
                    </a:cubicBezTo>
                    <a:cubicBezTo>
                      <a:pt x="27354" y="145188"/>
                      <a:pt x="0" y="118360"/>
                      <a:pt x="0" y="81011"/>
                    </a:cubicBezTo>
                    <a:cubicBezTo>
                      <a:pt x="0" y="36192"/>
                      <a:pt x="29458" y="0"/>
                      <a:pt x="80695" y="0"/>
                    </a:cubicBezTo>
                    <a:cubicBezTo>
                      <a:pt x="120148" y="0"/>
                      <a:pt x="145503" y="28827"/>
                      <a:pt x="145503" y="69543"/>
                    </a:cubicBezTo>
                    <a:lnTo>
                      <a:pt x="145503" y="96687"/>
                    </a:lnTo>
                    <a:cubicBezTo>
                      <a:pt x="145503" y="101947"/>
                      <a:pt x="145819" y="111100"/>
                      <a:pt x="146135" y="118149"/>
                    </a:cubicBezTo>
                    <a:close/>
                    <a:moveTo>
                      <a:pt x="40610" y="75961"/>
                    </a:moveTo>
                    <a:cubicBezTo>
                      <a:pt x="40610" y="96581"/>
                      <a:pt x="53235" y="111942"/>
                      <a:pt x="72173" y="111942"/>
                    </a:cubicBezTo>
                    <a:cubicBezTo>
                      <a:pt x="91111" y="111942"/>
                      <a:pt x="106050" y="97213"/>
                      <a:pt x="106050" y="71857"/>
                    </a:cubicBezTo>
                    <a:cubicBezTo>
                      <a:pt x="106050" y="46502"/>
                      <a:pt x="93636" y="35034"/>
                      <a:pt x="76276" y="35034"/>
                    </a:cubicBezTo>
                    <a:cubicBezTo>
                      <a:pt x="55971" y="35034"/>
                      <a:pt x="40610" y="52078"/>
                      <a:pt x="40610" y="75961"/>
                    </a:cubicBezTo>
                    <a:close/>
                  </a:path>
                </a:pathLst>
              </a:custGeom>
              <a:solidFill>
                <a:srgbClr val="004C7D"/>
              </a:solidFill>
              <a:ln w="10508" cap="flat">
                <a:noFill/>
                <a:prstDash val="solid"/>
                <a:miter/>
              </a:ln>
            </p:spPr>
            <p:txBody>
              <a:bodyPr rtlCol="0" anchor="ctr"/>
              <a:lstStyle/>
              <a:p>
                <a:endParaRPr lang="nl-NL"/>
              </a:p>
            </p:txBody>
          </p:sp>
          <p:sp>
            <p:nvSpPr>
              <p:cNvPr id="52" name="Freeform: Shape 51">
                <a:extLst>
                  <a:ext uri="{FF2B5EF4-FFF2-40B4-BE49-F238E27FC236}">
                    <a16:creationId xmlns:a16="http://schemas.microsoft.com/office/drawing/2014/main" id="{A5BA4ABE-02D0-4B4F-A090-4D1A94FE4A4A}"/>
                  </a:ext>
                </a:extLst>
              </p:cNvPr>
              <p:cNvSpPr/>
              <p:nvPr/>
            </p:nvSpPr>
            <p:spPr>
              <a:xfrm>
                <a:off x="469404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3"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53" name="Freeform: Shape 52">
                <a:extLst>
                  <a:ext uri="{FF2B5EF4-FFF2-40B4-BE49-F238E27FC236}">
                    <a16:creationId xmlns:a16="http://schemas.microsoft.com/office/drawing/2014/main" id="{2AD76082-088E-4F04-A200-67ADC873367B}"/>
                  </a:ext>
                </a:extLst>
              </p:cNvPr>
              <p:cNvSpPr/>
              <p:nvPr/>
            </p:nvSpPr>
            <p:spPr>
              <a:xfrm>
                <a:off x="4813979" y="1688908"/>
                <a:ext cx="140032" cy="212100"/>
              </a:xfrm>
              <a:custGeom>
                <a:avLst/>
                <a:gdLst>
                  <a:gd name="connsiteX0" fmla="*/ 127092 w 140032"/>
                  <a:gd name="connsiteY0" fmla="*/ 211995 h 212100"/>
                  <a:gd name="connsiteX1" fmla="*/ 100264 w 140032"/>
                  <a:gd name="connsiteY1" fmla="*/ 185483 h 212100"/>
                  <a:gd name="connsiteX2" fmla="*/ 100264 w 140032"/>
                  <a:gd name="connsiteY2" fmla="*/ 120674 h 212100"/>
                  <a:gd name="connsiteX3" fmla="*/ 68701 w 140032"/>
                  <a:gd name="connsiteY3" fmla="*/ 84482 h 212100"/>
                  <a:gd name="connsiteX4" fmla="*/ 40084 w 140032"/>
                  <a:gd name="connsiteY4" fmla="*/ 121937 h 212100"/>
                  <a:gd name="connsiteX5" fmla="*/ 40084 w 140032"/>
                  <a:gd name="connsiteY5" fmla="*/ 212100 h 212100"/>
                  <a:gd name="connsiteX6" fmla="*/ 27144 w 140032"/>
                  <a:gd name="connsiteY6" fmla="*/ 212100 h 212100"/>
                  <a:gd name="connsiteX7" fmla="*/ 0 w 140032"/>
                  <a:gd name="connsiteY7" fmla="*/ 185588 h 212100"/>
                  <a:gd name="connsiteX8" fmla="*/ 0 w 140032"/>
                  <a:gd name="connsiteY8" fmla="*/ 0 h 212100"/>
                  <a:gd name="connsiteX9" fmla="*/ 12415 w 140032"/>
                  <a:gd name="connsiteY9" fmla="*/ 0 h 212100"/>
                  <a:gd name="connsiteX10" fmla="*/ 40400 w 140032"/>
                  <a:gd name="connsiteY10" fmla="*/ 25355 h 212100"/>
                  <a:gd name="connsiteX11" fmla="*/ 40400 w 140032"/>
                  <a:gd name="connsiteY11" fmla="*/ 70700 h 212100"/>
                  <a:gd name="connsiteX12" fmla="*/ 74908 w 140032"/>
                  <a:gd name="connsiteY12" fmla="*/ 49448 h 212100"/>
                  <a:gd name="connsiteX13" fmla="*/ 140033 w 140032"/>
                  <a:gd name="connsiteY13" fmla="*/ 118991 h 212100"/>
                  <a:gd name="connsiteX14" fmla="*/ 140033 w 140032"/>
                  <a:gd name="connsiteY14" fmla="*/ 212100 h 212100"/>
                  <a:gd name="connsiteX15" fmla="*/ 127092 w 140032"/>
                  <a:gd name="connsiteY15" fmla="*/ 212100 h 21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032" h="212100">
                    <a:moveTo>
                      <a:pt x="127092" y="211995"/>
                    </a:moveTo>
                    <a:cubicBezTo>
                      <a:pt x="110574" y="211995"/>
                      <a:pt x="100264" y="202526"/>
                      <a:pt x="100264" y="185483"/>
                    </a:cubicBezTo>
                    <a:lnTo>
                      <a:pt x="100264" y="120674"/>
                    </a:lnTo>
                    <a:cubicBezTo>
                      <a:pt x="100264" y="94793"/>
                      <a:pt x="86166" y="84482"/>
                      <a:pt x="68701" y="84482"/>
                    </a:cubicBezTo>
                    <a:cubicBezTo>
                      <a:pt x="56287" y="84482"/>
                      <a:pt x="40084" y="93951"/>
                      <a:pt x="40084" y="121937"/>
                    </a:cubicBezTo>
                    <a:lnTo>
                      <a:pt x="40084" y="212100"/>
                    </a:lnTo>
                    <a:lnTo>
                      <a:pt x="27144" y="212100"/>
                    </a:lnTo>
                    <a:cubicBezTo>
                      <a:pt x="8627" y="212100"/>
                      <a:pt x="0" y="201790"/>
                      <a:pt x="0" y="185588"/>
                    </a:cubicBezTo>
                    <a:lnTo>
                      <a:pt x="0" y="0"/>
                    </a:lnTo>
                    <a:lnTo>
                      <a:pt x="12415" y="0"/>
                    </a:lnTo>
                    <a:cubicBezTo>
                      <a:pt x="31247" y="0"/>
                      <a:pt x="40400" y="10626"/>
                      <a:pt x="40400" y="25355"/>
                    </a:cubicBezTo>
                    <a:lnTo>
                      <a:pt x="40400" y="70700"/>
                    </a:lnTo>
                    <a:cubicBezTo>
                      <a:pt x="46292" y="61231"/>
                      <a:pt x="59864" y="49448"/>
                      <a:pt x="74908" y="49448"/>
                    </a:cubicBezTo>
                    <a:cubicBezTo>
                      <a:pt x="115835" y="49448"/>
                      <a:pt x="140033" y="73856"/>
                      <a:pt x="140033" y="118991"/>
                    </a:cubicBezTo>
                    <a:lnTo>
                      <a:pt x="140033" y="212100"/>
                    </a:lnTo>
                    <a:lnTo>
                      <a:pt x="127092" y="212100"/>
                    </a:lnTo>
                    <a:close/>
                  </a:path>
                </a:pathLst>
              </a:custGeom>
              <a:solidFill>
                <a:srgbClr val="004C7D"/>
              </a:solidFill>
              <a:ln w="10508" cap="flat">
                <a:noFill/>
                <a:prstDash val="solid"/>
                <a:miter/>
              </a:ln>
            </p:spPr>
            <p:txBody>
              <a:bodyPr rtlCol="0" anchor="ctr"/>
              <a:lstStyle/>
              <a:p>
                <a:endParaRPr lang="nl-NL" dirty="0"/>
              </a:p>
            </p:txBody>
          </p:sp>
          <p:sp>
            <p:nvSpPr>
              <p:cNvPr id="54" name="Freeform: Shape 53">
                <a:extLst>
                  <a:ext uri="{FF2B5EF4-FFF2-40B4-BE49-F238E27FC236}">
                    <a16:creationId xmlns:a16="http://schemas.microsoft.com/office/drawing/2014/main" id="{C0B83B81-8820-4B8B-9625-781AF7E82954}"/>
                  </a:ext>
                </a:extLst>
              </p:cNvPr>
              <p:cNvSpPr/>
              <p:nvPr/>
            </p:nvSpPr>
            <p:spPr>
              <a:xfrm>
                <a:off x="4982839" y="1738356"/>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8 w 141400"/>
                  <a:gd name="connsiteY4" fmla="*/ 117728 h 166124"/>
                  <a:gd name="connsiteX5" fmla="*/ 135508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8" y="117728"/>
                    </a:lnTo>
                    <a:lnTo>
                      <a:pt x="135508" y="130143"/>
                    </a:lnTo>
                    <a:cubicBezTo>
                      <a:pt x="135508"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55" name="Freeform: Shape 54">
                <a:extLst>
                  <a:ext uri="{FF2B5EF4-FFF2-40B4-BE49-F238E27FC236}">
                    <a16:creationId xmlns:a16="http://schemas.microsoft.com/office/drawing/2014/main" id="{4A4F2ADE-665C-4721-98C2-E56C38F7654E}"/>
                  </a:ext>
                </a:extLst>
              </p:cNvPr>
              <p:cNvSpPr/>
              <p:nvPr/>
            </p:nvSpPr>
            <p:spPr>
              <a:xfrm>
                <a:off x="5219979" y="1685857"/>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solidFill>
                <a:srgbClr val="004C7D"/>
              </a:solidFill>
              <a:ln w="10508" cap="flat">
                <a:noFill/>
                <a:prstDash val="solid"/>
                <a:miter/>
              </a:ln>
            </p:spPr>
            <p:txBody>
              <a:bodyPr rtlCol="0" anchor="ctr"/>
              <a:lstStyle/>
              <a:p>
                <a:endParaRPr lang="nl-NL"/>
              </a:p>
            </p:txBody>
          </p:sp>
          <p:sp>
            <p:nvSpPr>
              <p:cNvPr id="56" name="Freeform: Shape 55">
                <a:extLst>
                  <a:ext uri="{FF2B5EF4-FFF2-40B4-BE49-F238E27FC236}">
                    <a16:creationId xmlns:a16="http://schemas.microsoft.com/office/drawing/2014/main" id="{6F721B36-2B70-4BE4-918B-F6E709877DD5}"/>
                  </a:ext>
                </a:extLst>
              </p:cNvPr>
              <p:cNvSpPr/>
              <p:nvPr/>
            </p:nvSpPr>
            <p:spPr>
              <a:xfrm>
                <a:off x="5326976"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5 w 139611"/>
                  <a:gd name="connsiteY3" fmla="*/ 0 h 162652"/>
                  <a:gd name="connsiteX4" fmla="*/ 40085 w 139611"/>
                  <a:gd name="connsiteY4" fmla="*/ 28301 h 162652"/>
                  <a:gd name="connsiteX5" fmla="*/ 40085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5" y="0"/>
                    </a:lnTo>
                    <a:cubicBezTo>
                      <a:pt x="30090" y="0"/>
                      <a:pt x="40085" y="9679"/>
                      <a:pt x="40085" y="28301"/>
                    </a:cubicBezTo>
                    <a:lnTo>
                      <a:pt x="40085" y="86587"/>
                    </a:lnTo>
                    <a:cubicBezTo>
                      <a:pt x="40085"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solidFill>
                <a:srgbClr val="004C7D"/>
              </a:solidFill>
              <a:ln w="10508" cap="flat">
                <a:noFill/>
                <a:prstDash val="solid"/>
                <a:miter/>
              </a:ln>
            </p:spPr>
            <p:txBody>
              <a:bodyPr rtlCol="0" anchor="ctr"/>
              <a:lstStyle/>
              <a:p>
                <a:endParaRPr lang="nl-NL"/>
              </a:p>
            </p:txBody>
          </p:sp>
          <p:sp>
            <p:nvSpPr>
              <p:cNvPr id="57" name="Freeform: Shape 56">
                <a:extLst>
                  <a:ext uri="{FF2B5EF4-FFF2-40B4-BE49-F238E27FC236}">
                    <a16:creationId xmlns:a16="http://schemas.microsoft.com/office/drawing/2014/main" id="{8546B624-E70E-4EBC-973E-D5A8EBB61E50}"/>
                  </a:ext>
                </a:extLst>
              </p:cNvPr>
              <p:cNvSpPr/>
              <p:nvPr/>
            </p:nvSpPr>
            <p:spPr>
              <a:xfrm>
                <a:off x="5503411" y="1705847"/>
                <a:ext cx="94266" cy="196845"/>
              </a:xfrm>
              <a:custGeom>
                <a:avLst/>
                <a:gdLst>
                  <a:gd name="connsiteX0" fmla="*/ 11468 w 94266"/>
                  <a:gd name="connsiteY0" fmla="*/ 10942 h 196845"/>
                  <a:gd name="connsiteX1" fmla="*/ 29984 w 94266"/>
                  <a:gd name="connsiteY1" fmla="*/ 0 h 196845"/>
                  <a:gd name="connsiteX2" fmla="*/ 39138 w 94266"/>
                  <a:gd name="connsiteY2" fmla="*/ 0 h 196845"/>
                  <a:gd name="connsiteX3" fmla="*/ 39138 w 94266"/>
                  <a:gd name="connsiteY3" fmla="*/ 35981 h 196845"/>
                  <a:gd name="connsiteX4" fmla="*/ 94267 w 94266"/>
                  <a:gd name="connsiteY4" fmla="*/ 35981 h 196845"/>
                  <a:gd name="connsiteX5" fmla="*/ 94267 w 94266"/>
                  <a:gd name="connsiteY5" fmla="*/ 52183 h 196845"/>
                  <a:gd name="connsiteX6" fmla="*/ 70700 w 94266"/>
                  <a:gd name="connsiteY6" fmla="*/ 71016 h 196845"/>
                  <a:gd name="connsiteX7" fmla="*/ 39138 w 94266"/>
                  <a:gd name="connsiteY7" fmla="*/ 71016 h 196845"/>
                  <a:gd name="connsiteX8" fmla="*/ 39138 w 94266"/>
                  <a:gd name="connsiteY8" fmla="*/ 133194 h 196845"/>
                  <a:gd name="connsiteX9" fmla="*/ 64177 w 94266"/>
                  <a:gd name="connsiteY9" fmla="*/ 161811 h 196845"/>
                  <a:gd name="connsiteX10" fmla="*/ 92794 w 94266"/>
                  <a:gd name="connsiteY10" fmla="*/ 156235 h 196845"/>
                  <a:gd name="connsiteX11" fmla="*/ 94267 w 94266"/>
                  <a:gd name="connsiteY11" fmla="*/ 156235 h 196845"/>
                  <a:gd name="connsiteX12" fmla="*/ 94267 w 94266"/>
                  <a:gd name="connsiteY12" fmla="*/ 170333 h 196845"/>
                  <a:gd name="connsiteX13" fmla="*/ 59548 w 94266"/>
                  <a:gd name="connsiteY13" fmla="*/ 196845 h 196845"/>
                  <a:gd name="connsiteX14" fmla="*/ 0 w 94266"/>
                  <a:gd name="connsiteY14" fmla="*/ 137928 h 196845"/>
                  <a:gd name="connsiteX15" fmla="*/ 0 w 94266"/>
                  <a:gd name="connsiteY15" fmla="*/ 42504 h 196845"/>
                  <a:gd name="connsiteX16" fmla="*/ 11468 w 94266"/>
                  <a:gd name="connsiteY16" fmla="*/ 10942 h 1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66" h="196845">
                    <a:moveTo>
                      <a:pt x="11468" y="10942"/>
                    </a:moveTo>
                    <a:cubicBezTo>
                      <a:pt x="16728" y="4734"/>
                      <a:pt x="23882" y="0"/>
                      <a:pt x="29984" y="0"/>
                    </a:cubicBezTo>
                    <a:lnTo>
                      <a:pt x="39138" y="0"/>
                    </a:lnTo>
                    <a:lnTo>
                      <a:pt x="39138" y="35981"/>
                    </a:lnTo>
                    <a:lnTo>
                      <a:pt x="94267" y="35981"/>
                    </a:lnTo>
                    <a:lnTo>
                      <a:pt x="94267" y="52183"/>
                    </a:lnTo>
                    <a:cubicBezTo>
                      <a:pt x="94267" y="60390"/>
                      <a:pt x="86902" y="71016"/>
                      <a:pt x="70700" y="71016"/>
                    </a:cubicBezTo>
                    <a:lnTo>
                      <a:pt x="39138" y="71016"/>
                    </a:lnTo>
                    <a:lnTo>
                      <a:pt x="39138" y="133194"/>
                    </a:lnTo>
                    <a:cubicBezTo>
                      <a:pt x="39138" y="153815"/>
                      <a:pt x="48291" y="161811"/>
                      <a:pt x="64177" y="161811"/>
                    </a:cubicBezTo>
                    <a:cubicBezTo>
                      <a:pt x="76802" y="161811"/>
                      <a:pt x="86587" y="160022"/>
                      <a:pt x="92794" y="156235"/>
                    </a:cubicBezTo>
                    <a:lnTo>
                      <a:pt x="94267" y="156235"/>
                    </a:lnTo>
                    <a:lnTo>
                      <a:pt x="94267" y="170333"/>
                    </a:lnTo>
                    <a:cubicBezTo>
                      <a:pt x="94267" y="186535"/>
                      <a:pt x="82483" y="196845"/>
                      <a:pt x="59548" y="196845"/>
                    </a:cubicBezTo>
                    <a:cubicBezTo>
                      <a:pt x="19464" y="196845"/>
                      <a:pt x="0" y="175067"/>
                      <a:pt x="0" y="137928"/>
                    </a:cubicBezTo>
                    <a:lnTo>
                      <a:pt x="0" y="42504"/>
                    </a:lnTo>
                    <a:cubicBezTo>
                      <a:pt x="0" y="26933"/>
                      <a:pt x="2946" y="21042"/>
                      <a:pt x="11468" y="10942"/>
                    </a:cubicBezTo>
                    <a:close/>
                  </a:path>
                </a:pathLst>
              </a:custGeom>
              <a:solidFill>
                <a:srgbClr val="004C7D"/>
              </a:solidFill>
              <a:ln w="10508"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29D86A06-9933-49E7-83CC-E47A62DBCACD}"/>
                  </a:ext>
                </a:extLst>
              </p:cNvPr>
              <p:cNvSpPr/>
              <p:nvPr/>
            </p:nvSpPr>
            <p:spPr>
              <a:xfrm>
                <a:off x="5620298" y="1741828"/>
                <a:ext cx="139611" cy="162652"/>
              </a:xfrm>
              <a:custGeom>
                <a:avLst/>
                <a:gdLst>
                  <a:gd name="connsiteX0" fmla="*/ 70069 w 139611"/>
                  <a:gd name="connsiteY0" fmla="*/ 162652 h 162652"/>
                  <a:gd name="connsiteX1" fmla="*/ 0 w 139611"/>
                  <a:gd name="connsiteY1" fmla="*/ 90479 h 162652"/>
                  <a:gd name="connsiteX2" fmla="*/ 0 w 139611"/>
                  <a:gd name="connsiteY2" fmla="*/ 0 h 162652"/>
                  <a:gd name="connsiteX3" fmla="*/ 7364 w 139611"/>
                  <a:gd name="connsiteY3" fmla="*/ 0 h 162652"/>
                  <a:gd name="connsiteX4" fmla="*/ 40084 w 139611"/>
                  <a:gd name="connsiteY4" fmla="*/ 28301 h 162652"/>
                  <a:gd name="connsiteX5" fmla="*/ 40084 w 139611"/>
                  <a:gd name="connsiteY5" fmla="*/ 86587 h 162652"/>
                  <a:gd name="connsiteX6" fmla="*/ 72173 w 139611"/>
                  <a:gd name="connsiteY6" fmla="*/ 127513 h 162652"/>
                  <a:gd name="connsiteX7" fmla="*/ 99843 w 139611"/>
                  <a:gd name="connsiteY7" fmla="*/ 89217 h 162652"/>
                  <a:gd name="connsiteX8" fmla="*/ 99843 w 139611"/>
                  <a:gd name="connsiteY8" fmla="*/ 0 h 162652"/>
                  <a:gd name="connsiteX9" fmla="*/ 106892 w 139611"/>
                  <a:gd name="connsiteY9" fmla="*/ 0 h 162652"/>
                  <a:gd name="connsiteX10" fmla="*/ 139612 w 139611"/>
                  <a:gd name="connsiteY10" fmla="*/ 28301 h 162652"/>
                  <a:gd name="connsiteX11" fmla="*/ 139612 w 139611"/>
                  <a:gd name="connsiteY11" fmla="*/ 87849 h 162652"/>
                  <a:gd name="connsiteX12" fmla="*/ 70069 w 139611"/>
                  <a:gd name="connsiteY12" fmla="*/ 162652 h 16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11" h="162652">
                    <a:moveTo>
                      <a:pt x="70069" y="162652"/>
                    </a:moveTo>
                    <a:cubicBezTo>
                      <a:pt x="30931" y="162652"/>
                      <a:pt x="0" y="136771"/>
                      <a:pt x="0" y="90479"/>
                    </a:cubicBezTo>
                    <a:lnTo>
                      <a:pt x="0" y="0"/>
                    </a:lnTo>
                    <a:lnTo>
                      <a:pt x="7364" y="0"/>
                    </a:lnTo>
                    <a:cubicBezTo>
                      <a:pt x="30089" y="0"/>
                      <a:pt x="40084" y="9679"/>
                      <a:pt x="40084" y="28301"/>
                    </a:cubicBezTo>
                    <a:lnTo>
                      <a:pt x="40084" y="86587"/>
                    </a:lnTo>
                    <a:cubicBezTo>
                      <a:pt x="40084" y="115729"/>
                      <a:pt x="54182" y="127513"/>
                      <a:pt x="72173" y="127513"/>
                    </a:cubicBezTo>
                    <a:cubicBezTo>
                      <a:pt x="88375" y="127513"/>
                      <a:pt x="99843" y="116361"/>
                      <a:pt x="99843" y="89217"/>
                    </a:cubicBezTo>
                    <a:lnTo>
                      <a:pt x="99843" y="0"/>
                    </a:lnTo>
                    <a:lnTo>
                      <a:pt x="106892" y="0"/>
                    </a:lnTo>
                    <a:cubicBezTo>
                      <a:pt x="129827" y="0"/>
                      <a:pt x="139612" y="9679"/>
                      <a:pt x="139612" y="28301"/>
                    </a:cubicBezTo>
                    <a:lnTo>
                      <a:pt x="139612" y="87849"/>
                    </a:lnTo>
                    <a:cubicBezTo>
                      <a:pt x="139612" y="137297"/>
                      <a:pt x="116361" y="162652"/>
                      <a:pt x="70069" y="162652"/>
                    </a:cubicBezTo>
                    <a:close/>
                  </a:path>
                </a:pathLst>
              </a:custGeom>
              <a:solidFill>
                <a:srgbClr val="004C7D"/>
              </a:solidFill>
              <a:ln w="10508" cap="flat">
                <a:noFill/>
                <a:prstDash val="solid"/>
                <a:miter/>
              </a:ln>
            </p:spPr>
            <p:txBody>
              <a:bodyPr rtlCol="0" anchor="ctr"/>
              <a:lstStyle/>
              <a:p>
                <a:endParaRPr lang="nl-NL"/>
              </a:p>
            </p:txBody>
          </p:sp>
          <p:sp>
            <p:nvSpPr>
              <p:cNvPr id="59" name="Freeform: Shape 58">
                <a:extLst>
                  <a:ext uri="{FF2B5EF4-FFF2-40B4-BE49-F238E27FC236}">
                    <a16:creationId xmlns:a16="http://schemas.microsoft.com/office/drawing/2014/main" id="{E9558BC4-D286-4BF2-BA9E-BE1CE950D2A3}"/>
                  </a:ext>
                </a:extLst>
              </p:cNvPr>
              <p:cNvSpPr/>
              <p:nvPr/>
            </p:nvSpPr>
            <p:spPr>
              <a:xfrm>
                <a:off x="5795154" y="1740355"/>
                <a:ext cx="91636" cy="160548"/>
              </a:xfrm>
              <a:custGeom>
                <a:avLst/>
                <a:gdLst>
                  <a:gd name="connsiteX0" fmla="*/ 90058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3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8"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09" y="0"/>
                      <a:pt x="91637" y="13888"/>
                      <a:pt x="91637" y="25881"/>
                    </a:cubicBezTo>
                    <a:lnTo>
                      <a:pt x="91637" y="39979"/>
                    </a:lnTo>
                    <a:lnTo>
                      <a:pt x="90163" y="39979"/>
                    </a:lnTo>
                    <a:close/>
                  </a:path>
                </a:pathLst>
              </a:custGeom>
              <a:solidFill>
                <a:srgbClr val="004C7D"/>
              </a:solidFill>
              <a:ln w="10508" cap="flat">
                <a:noFill/>
                <a:prstDash val="solid"/>
                <a:miter/>
              </a:ln>
            </p:spPr>
            <p:txBody>
              <a:bodyPr rtlCol="0" anchor="ctr"/>
              <a:lstStyle/>
              <a:p>
                <a:endParaRPr lang="nl-NL"/>
              </a:p>
            </p:txBody>
          </p:sp>
          <p:sp>
            <p:nvSpPr>
              <p:cNvPr id="60" name="Freeform: Shape 59">
                <a:extLst>
                  <a:ext uri="{FF2B5EF4-FFF2-40B4-BE49-F238E27FC236}">
                    <a16:creationId xmlns:a16="http://schemas.microsoft.com/office/drawing/2014/main" id="{00038730-B5B9-48B1-B257-D9B14159E052}"/>
                  </a:ext>
                </a:extLst>
              </p:cNvPr>
              <p:cNvSpPr/>
              <p:nvPr/>
            </p:nvSpPr>
            <p:spPr>
              <a:xfrm>
                <a:off x="5900468" y="1738356"/>
                <a:ext cx="141400" cy="166124"/>
              </a:xfrm>
              <a:custGeom>
                <a:avLst/>
                <a:gdLst>
                  <a:gd name="connsiteX0" fmla="*/ 66807 w 141400"/>
                  <a:gd name="connsiteY0" fmla="*/ 100053 h 166124"/>
                  <a:gd name="connsiteX1" fmla="*/ 40926 w 141400"/>
                  <a:gd name="connsiteY1" fmla="*/ 100053 h 166124"/>
                  <a:gd name="connsiteX2" fmla="*/ 85430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30"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4098171F-A7AF-4617-80C8-304243F6A482}"/>
                  </a:ext>
                </a:extLst>
              </p:cNvPr>
              <p:cNvSpPr/>
              <p:nvPr/>
            </p:nvSpPr>
            <p:spPr>
              <a:xfrm>
                <a:off x="4685099"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224 w 153814"/>
                  <a:gd name="connsiteY5" fmla="*/ 35455 h 166229"/>
                  <a:gd name="connsiteX6" fmla="*/ 41031 w 153814"/>
                  <a:gd name="connsiteY6" fmla="*/ 80485 h 166229"/>
                  <a:gd name="connsiteX7" fmla="*/ 78696 w 153814"/>
                  <a:gd name="connsiteY7" fmla="*/ 130879 h 166229"/>
                  <a:gd name="connsiteX8" fmla="*/ 112889 w 153814"/>
                  <a:gd name="connsiteY8" fmla="*/ 86061 h 166229"/>
                  <a:gd name="connsiteX9" fmla="*/ 75224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224" y="35455"/>
                    </a:moveTo>
                    <a:cubicBezTo>
                      <a:pt x="52499" y="35455"/>
                      <a:pt x="41031" y="54288"/>
                      <a:pt x="41031" y="80485"/>
                    </a:cubicBezTo>
                    <a:cubicBezTo>
                      <a:pt x="41031" y="112047"/>
                      <a:pt x="52499" y="130879"/>
                      <a:pt x="78696" y="130879"/>
                    </a:cubicBezTo>
                    <a:cubicBezTo>
                      <a:pt x="101631" y="130879"/>
                      <a:pt x="112889" y="112047"/>
                      <a:pt x="112889" y="86061"/>
                    </a:cubicBezTo>
                    <a:cubicBezTo>
                      <a:pt x="112889" y="54288"/>
                      <a:pt x="101105" y="35350"/>
                      <a:pt x="75224" y="35350"/>
                    </a:cubicBezTo>
                    <a:close/>
                  </a:path>
                </a:pathLst>
              </a:custGeom>
              <a:solidFill>
                <a:srgbClr val="004C7D"/>
              </a:solidFill>
              <a:ln w="10508" cap="flat">
                <a:noFill/>
                <a:prstDash val="solid"/>
                <a:miter/>
              </a:ln>
            </p:spPr>
            <p:txBody>
              <a:bodyPr rtlCol="0" anchor="ctr"/>
              <a:lstStyle/>
              <a:p>
                <a:endParaRPr lang="nl-NL"/>
              </a:p>
            </p:txBody>
          </p:sp>
          <p:sp>
            <p:nvSpPr>
              <p:cNvPr id="62" name="Freeform: Shape 61">
                <a:extLst>
                  <a:ext uri="{FF2B5EF4-FFF2-40B4-BE49-F238E27FC236}">
                    <a16:creationId xmlns:a16="http://schemas.microsoft.com/office/drawing/2014/main" id="{DFFF0A8B-FF2B-43EB-9743-1BF99A03688D}"/>
                  </a:ext>
                </a:extLst>
              </p:cNvPr>
              <p:cNvSpPr/>
              <p:nvPr/>
            </p:nvSpPr>
            <p:spPr>
              <a:xfrm>
                <a:off x="4868267" y="2001483"/>
                <a:ext cx="92162" cy="215046"/>
              </a:xfrm>
              <a:custGeom>
                <a:avLst/>
                <a:gdLst>
                  <a:gd name="connsiteX0" fmla="*/ 91005 w 92162"/>
                  <a:gd name="connsiteY0" fmla="*/ 38296 h 215046"/>
                  <a:gd name="connsiteX1" fmla="*/ 68070 w 92162"/>
                  <a:gd name="connsiteY1" fmla="*/ 34719 h 215046"/>
                  <a:gd name="connsiteX2" fmla="*/ 39769 w 92162"/>
                  <a:gd name="connsiteY2" fmla="*/ 61547 h 215046"/>
                  <a:gd name="connsiteX3" fmla="*/ 39769 w 92162"/>
                  <a:gd name="connsiteY3" fmla="*/ 75645 h 215046"/>
                  <a:gd name="connsiteX4" fmla="*/ 85114 w 92162"/>
                  <a:gd name="connsiteY4" fmla="*/ 75645 h 215046"/>
                  <a:gd name="connsiteX5" fmla="*/ 85114 w 92162"/>
                  <a:gd name="connsiteY5" fmla="*/ 86587 h 215046"/>
                  <a:gd name="connsiteX6" fmla="*/ 56813 w 92162"/>
                  <a:gd name="connsiteY6" fmla="*/ 108996 h 215046"/>
                  <a:gd name="connsiteX7" fmla="*/ 39769 w 92162"/>
                  <a:gd name="connsiteY7" fmla="*/ 108996 h 215046"/>
                  <a:gd name="connsiteX8" fmla="*/ 39769 w 92162"/>
                  <a:gd name="connsiteY8" fmla="*/ 215046 h 215046"/>
                  <a:gd name="connsiteX9" fmla="*/ 23882 w 92162"/>
                  <a:gd name="connsiteY9" fmla="*/ 215046 h 215046"/>
                  <a:gd name="connsiteX10" fmla="*/ 0 w 92162"/>
                  <a:gd name="connsiteY10" fmla="*/ 191480 h 215046"/>
                  <a:gd name="connsiteX11" fmla="*/ 0 w 92162"/>
                  <a:gd name="connsiteY11" fmla="*/ 58286 h 215046"/>
                  <a:gd name="connsiteX12" fmla="*/ 61863 w 92162"/>
                  <a:gd name="connsiteY12" fmla="*/ 0 h 215046"/>
                  <a:gd name="connsiteX13" fmla="*/ 92163 w 92162"/>
                  <a:gd name="connsiteY13" fmla="*/ 25040 h 215046"/>
                  <a:gd name="connsiteX14" fmla="*/ 92163 w 92162"/>
                  <a:gd name="connsiteY14" fmla="*/ 38296 h 215046"/>
                  <a:gd name="connsiteX15" fmla="*/ 91005 w 92162"/>
                  <a:gd name="connsiteY15" fmla="*/ 38296 h 2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62" h="215046">
                    <a:moveTo>
                      <a:pt x="91005" y="38296"/>
                    </a:moveTo>
                    <a:cubicBezTo>
                      <a:pt x="84798" y="36192"/>
                      <a:pt x="77749" y="34719"/>
                      <a:pt x="68070" y="34719"/>
                    </a:cubicBezTo>
                    <a:cubicBezTo>
                      <a:pt x="51868" y="34719"/>
                      <a:pt x="39769" y="40295"/>
                      <a:pt x="39769" y="61547"/>
                    </a:cubicBezTo>
                    <a:lnTo>
                      <a:pt x="39769" y="75645"/>
                    </a:lnTo>
                    <a:lnTo>
                      <a:pt x="85114" y="75645"/>
                    </a:lnTo>
                    <a:lnTo>
                      <a:pt x="85114" y="86587"/>
                    </a:lnTo>
                    <a:cubicBezTo>
                      <a:pt x="85114" y="100685"/>
                      <a:pt x="70069" y="108996"/>
                      <a:pt x="56813" y="108996"/>
                    </a:cubicBezTo>
                    <a:lnTo>
                      <a:pt x="39769" y="108996"/>
                    </a:lnTo>
                    <a:lnTo>
                      <a:pt x="39769" y="215046"/>
                    </a:lnTo>
                    <a:lnTo>
                      <a:pt x="23882" y="215046"/>
                    </a:lnTo>
                    <a:cubicBezTo>
                      <a:pt x="11257" y="215046"/>
                      <a:pt x="0" y="205367"/>
                      <a:pt x="0" y="191480"/>
                    </a:cubicBezTo>
                    <a:lnTo>
                      <a:pt x="0" y="58286"/>
                    </a:lnTo>
                    <a:cubicBezTo>
                      <a:pt x="0" y="35876"/>
                      <a:pt x="15571" y="0"/>
                      <a:pt x="61863" y="0"/>
                    </a:cubicBezTo>
                    <a:cubicBezTo>
                      <a:pt x="78906" y="0"/>
                      <a:pt x="92163" y="9469"/>
                      <a:pt x="92163" y="25040"/>
                    </a:cubicBezTo>
                    <a:lnTo>
                      <a:pt x="92163" y="38296"/>
                    </a:lnTo>
                    <a:lnTo>
                      <a:pt x="91005" y="38296"/>
                    </a:lnTo>
                    <a:close/>
                  </a:path>
                </a:pathLst>
              </a:custGeom>
              <a:solidFill>
                <a:srgbClr val="004C7D"/>
              </a:solidFill>
              <a:ln w="10508" cap="flat">
                <a:noFill/>
                <a:prstDash val="solid"/>
                <a:miter/>
              </a:ln>
            </p:spPr>
            <p:txBody>
              <a:bodyPr rtlCol="0" anchor="ctr"/>
              <a:lstStyle/>
              <a:p>
                <a:endParaRPr lang="nl-NL"/>
              </a:p>
            </p:txBody>
          </p:sp>
          <p:sp>
            <p:nvSpPr>
              <p:cNvPr id="63" name="Freeform: Shape 62">
                <a:extLst>
                  <a:ext uri="{FF2B5EF4-FFF2-40B4-BE49-F238E27FC236}">
                    <a16:creationId xmlns:a16="http://schemas.microsoft.com/office/drawing/2014/main" id="{DA17F10B-9453-4D32-ABEF-E4BD1EA25189}"/>
                  </a:ext>
                </a:extLst>
              </p:cNvPr>
              <p:cNvSpPr/>
              <p:nvPr/>
            </p:nvSpPr>
            <p:spPr>
              <a:xfrm>
                <a:off x="5034917"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CC85275D-FF7D-4EB1-A063-B0982A8376A1}"/>
                  </a:ext>
                </a:extLst>
              </p:cNvPr>
              <p:cNvSpPr/>
              <p:nvPr/>
            </p:nvSpPr>
            <p:spPr>
              <a:xfrm>
                <a:off x="5190941"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5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5"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sp>
            <p:nvSpPr>
              <p:cNvPr id="65" name="Freeform: Shape 64">
                <a:extLst>
                  <a:ext uri="{FF2B5EF4-FFF2-40B4-BE49-F238E27FC236}">
                    <a16:creationId xmlns:a16="http://schemas.microsoft.com/office/drawing/2014/main" id="{F4F1DEA7-C53B-4761-A4B9-E9366E208150}"/>
                  </a:ext>
                </a:extLst>
              </p:cNvPr>
              <p:cNvSpPr/>
              <p:nvPr/>
            </p:nvSpPr>
            <p:spPr>
              <a:xfrm>
                <a:off x="5360853" y="2055981"/>
                <a:ext cx="91636" cy="160548"/>
              </a:xfrm>
              <a:custGeom>
                <a:avLst/>
                <a:gdLst>
                  <a:gd name="connsiteX0" fmla="*/ 90059 w 91636"/>
                  <a:gd name="connsiteY0" fmla="*/ 40085 h 160548"/>
                  <a:gd name="connsiteX1" fmla="*/ 67123 w 91636"/>
                  <a:gd name="connsiteY1" fmla="*/ 35350 h 160548"/>
                  <a:gd name="connsiteX2" fmla="*/ 39769 w 91636"/>
                  <a:gd name="connsiteY2" fmla="*/ 69227 h 160548"/>
                  <a:gd name="connsiteX3" fmla="*/ 39769 w 91636"/>
                  <a:gd name="connsiteY3" fmla="*/ 160548 h 160548"/>
                  <a:gd name="connsiteX4" fmla="*/ 28827 w 91636"/>
                  <a:gd name="connsiteY4" fmla="*/ 160548 h 160548"/>
                  <a:gd name="connsiteX5" fmla="*/ 0 w 91636"/>
                  <a:gd name="connsiteY5" fmla="*/ 135193 h 160548"/>
                  <a:gd name="connsiteX6" fmla="*/ 0 w 91636"/>
                  <a:gd name="connsiteY6" fmla="*/ 62178 h 160548"/>
                  <a:gd name="connsiteX7" fmla="*/ 58601 w 91636"/>
                  <a:gd name="connsiteY7" fmla="*/ 0 h 160548"/>
                  <a:gd name="connsiteX8" fmla="*/ 91637 w 91636"/>
                  <a:gd name="connsiteY8" fmla="*/ 25881 h 160548"/>
                  <a:gd name="connsiteX9" fmla="*/ 91637 w 91636"/>
                  <a:gd name="connsiteY9" fmla="*/ 39979 h 160548"/>
                  <a:gd name="connsiteX10" fmla="*/ 90164 w 91636"/>
                  <a:gd name="connsiteY10" fmla="*/ 39979 h 16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36" h="160548">
                    <a:moveTo>
                      <a:pt x="90059" y="40085"/>
                    </a:moveTo>
                    <a:cubicBezTo>
                      <a:pt x="84167" y="37770"/>
                      <a:pt x="77433" y="35350"/>
                      <a:pt x="67123" y="35350"/>
                    </a:cubicBezTo>
                    <a:cubicBezTo>
                      <a:pt x="49448" y="35350"/>
                      <a:pt x="39769" y="45029"/>
                      <a:pt x="39769" y="69227"/>
                    </a:cubicBezTo>
                    <a:lnTo>
                      <a:pt x="39769" y="160548"/>
                    </a:lnTo>
                    <a:lnTo>
                      <a:pt x="28827" y="160548"/>
                    </a:lnTo>
                    <a:cubicBezTo>
                      <a:pt x="11152" y="160548"/>
                      <a:pt x="0" y="151711"/>
                      <a:pt x="0" y="135193"/>
                    </a:cubicBezTo>
                    <a:lnTo>
                      <a:pt x="0" y="62178"/>
                    </a:lnTo>
                    <a:cubicBezTo>
                      <a:pt x="0" y="30405"/>
                      <a:pt x="16833" y="0"/>
                      <a:pt x="58601" y="0"/>
                    </a:cubicBezTo>
                    <a:cubicBezTo>
                      <a:pt x="83010" y="0"/>
                      <a:pt x="91637" y="13888"/>
                      <a:pt x="91637" y="25881"/>
                    </a:cubicBezTo>
                    <a:lnTo>
                      <a:pt x="91637" y="39979"/>
                    </a:lnTo>
                    <a:lnTo>
                      <a:pt x="90164" y="39979"/>
                    </a:lnTo>
                    <a:close/>
                  </a:path>
                </a:pathLst>
              </a:custGeom>
              <a:solidFill>
                <a:srgbClr val="004C7D"/>
              </a:solidFill>
              <a:ln w="10508" cap="flat">
                <a:noFill/>
                <a:prstDash val="solid"/>
                <a:miter/>
              </a:ln>
            </p:spPr>
            <p:txBody>
              <a:bodyPr rtlCol="0" anchor="ctr"/>
              <a:lstStyle/>
              <a:p>
                <a:endParaRPr lang="nl-NL"/>
              </a:p>
            </p:txBody>
          </p:sp>
          <p:sp>
            <p:nvSpPr>
              <p:cNvPr id="66" name="Freeform: Shape 65">
                <a:extLst>
                  <a:ext uri="{FF2B5EF4-FFF2-40B4-BE49-F238E27FC236}">
                    <a16:creationId xmlns:a16="http://schemas.microsoft.com/office/drawing/2014/main" id="{D9988F2B-6A10-4ECE-8B68-AC8327F837AB}"/>
                  </a:ext>
                </a:extLst>
              </p:cNvPr>
              <p:cNvSpPr/>
              <p:nvPr/>
            </p:nvSpPr>
            <p:spPr>
              <a:xfrm>
                <a:off x="5466167" y="2053771"/>
                <a:ext cx="153814" cy="166229"/>
              </a:xfrm>
              <a:custGeom>
                <a:avLst/>
                <a:gdLst>
                  <a:gd name="connsiteX0" fmla="*/ 78696 w 153814"/>
                  <a:gd name="connsiteY0" fmla="*/ 105 h 166229"/>
                  <a:gd name="connsiteX1" fmla="*/ 153815 w 153814"/>
                  <a:gd name="connsiteY1" fmla="*/ 80485 h 166229"/>
                  <a:gd name="connsiteX2" fmla="*/ 75119 w 153814"/>
                  <a:gd name="connsiteY2" fmla="*/ 166229 h 166229"/>
                  <a:gd name="connsiteX3" fmla="*/ 0 w 153814"/>
                  <a:gd name="connsiteY3" fmla="*/ 86061 h 166229"/>
                  <a:gd name="connsiteX4" fmla="*/ 78696 w 153814"/>
                  <a:gd name="connsiteY4" fmla="*/ 0 h 166229"/>
                  <a:gd name="connsiteX5" fmla="*/ 75119 w 153814"/>
                  <a:gd name="connsiteY5" fmla="*/ 35455 h 166229"/>
                  <a:gd name="connsiteX6" fmla="*/ 40926 w 153814"/>
                  <a:gd name="connsiteY6" fmla="*/ 80485 h 166229"/>
                  <a:gd name="connsiteX7" fmla="*/ 78591 w 153814"/>
                  <a:gd name="connsiteY7" fmla="*/ 130879 h 166229"/>
                  <a:gd name="connsiteX8" fmla="*/ 112784 w 153814"/>
                  <a:gd name="connsiteY8" fmla="*/ 86061 h 166229"/>
                  <a:gd name="connsiteX9" fmla="*/ 75119 w 153814"/>
                  <a:gd name="connsiteY9" fmla="*/ 35350 h 16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814" h="166229">
                    <a:moveTo>
                      <a:pt x="78696" y="105"/>
                    </a:moveTo>
                    <a:cubicBezTo>
                      <a:pt x="126461" y="105"/>
                      <a:pt x="153815" y="38401"/>
                      <a:pt x="153815" y="80485"/>
                    </a:cubicBezTo>
                    <a:cubicBezTo>
                      <a:pt x="153815" y="128249"/>
                      <a:pt x="126461" y="166229"/>
                      <a:pt x="75119" y="166229"/>
                    </a:cubicBezTo>
                    <a:cubicBezTo>
                      <a:pt x="27354" y="166229"/>
                      <a:pt x="0" y="128249"/>
                      <a:pt x="0" y="86061"/>
                    </a:cubicBezTo>
                    <a:cubicBezTo>
                      <a:pt x="0" y="38296"/>
                      <a:pt x="27354" y="0"/>
                      <a:pt x="78696" y="0"/>
                    </a:cubicBezTo>
                    <a:close/>
                    <a:moveTo>
                      <a:pt x="75119" y="35455"/>
                    </a:moveTo>
                    <a:cubicBezTo>
                      <a:pt x="52394" y="35455"/>
                      <a:pt x="40926" y="54288"/>
                      <a:pt x="40926" y="80485"/>
                    </a:cubicBezTo>
                    <a:cubicBezTo>
                      <a:pt x="40926" y="112047"/>
                      <a:pt x="52394" y="130879"/>
                      <a:pt x="78591" y="130879"/>
                    </a:cubicBezTo>
                    <a:cubicBezTo>
                      <a:pt x="101527" y="130879"/>
                      <a:pt x="112784" y="112047"/>
                      <a:pt x="112784" y="86061"/>
                    </a:cubicBezTo>
                    <a:cubicBezTo>
                      <a:pt x="112784" y="54288"/>
                      <a:pt x="101000" y="35350"/>
                      <a:pt x="75119" y="35350"/>
                    </a:cubicBezTo>
                    <a:close/>
                  </a:path>
                </a:pathLst>
              </a:custGeom>
              <a:solidFill>
                <a:srgbClr val="004C7D"/>
              </a:solidFill>
              <a:ln w="10508"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5BA7580B-F487-4E27-A587-7169BDC71517}"/>
                  </a:ext>
                </a:extLst>
              </p:cNvPr>
              <p:cNvSpPr/>
              <p:nvPr/>
            </p:nvSpPr>
            <p:spPr>
              <a:xfrm>
                <a:off x="5641339" y="2053982"/>
                <a:ext cx="122041" cy="166124"/>
              </a:xfrm>
              <a:custGeom>
                <a:avLst/>
                <a:gdLst>
                  <a:gd name="connsiteX0" fmla="*/ 55655 w 122041"/>
                  <a:gd name="connsiteY0" fmla="*/ 166124 h 166124"/>
                  <a:gd name="connsiteX1" fmla="*/ 4734 w 122041"/>
                  <a:gd name="connsiteY1" fmla="*/ 134877 h 166124"/>
                  <a:gd name="connsiteX2" fmla="*/ 4734 w 122041"/>
                  <a:gd name="connsiteY2" fmla="*/ 116887 h 166124"/>
                  <a:gd name="connsiteX3" fmla="*/ 6207 w 122041"/>
                  <a:gd name="connsiteY3" fmla="*/ 116887 h 166124"/>
                  <a:gd name="connsiteX4" fmla="*/ 53972 w 122041"/>
                  <a:gd name="connsiteY4" fmla="*/ 131932 h 166124"/>
                  <a:gd name="connsiteX5" fmla="*/ 82799 w 122041"/>
                  <a:gd name="connsiteY5" fmla="*/ 114572 h 166124"/>
                  <a:gd name="connsiteX6" fmla="*/ 49763 w 122041"/>
                  <a:gd name="connsiteY6" fmla="*/ 97213 h 166124"/>
                  <a:gd name="connsiteX7" fmla="*/ 0 w 122041"/>
                  <a:gd name="connsiteY7" fmla="*/ 55129 h 166124"/>
                  <a:gd name="connsiteX8" fmla="*/ 67438 w 122041"/>
                  <a:gd name="connsiteY8" fmla="*/ 0 h 166124"/>
                  <a:gd name="connsiteX9" fmla="*/ 118149 w 122041"/>
                  <a:gd name="connsiteY9" fmla="*/ 33877 h 166124"/>
                  <a:gd name="connsiteX10" fmla="*/ 118149 w 122041"/>
                  <a:gd name="connsiteY10" fmla="*/ 48922 h 166124"/>
                  <a:gd name="connsiteX11" fmla="*/ 116676 w 122041"/>
                  <a:gd name="connsiteY11" fmla="*/ 48922 h 166124"/>
                  <a:gd name="connsiteX12" fmla="*/ 71331 w 122041"/>
                  <a:gd name="connsiteY12" fmla="*/ 34193 h 166124"/>
                  <a:gd name="connsiteX13" fmla="*/ 39558 w 122041"/>
                  <a:gd name="connsiteY13" fmla="*/ 51868 h 166124"/>
                  <a:gd name="connsiteX14" fmla="*/ 71331 w 122041"/>
                  <a:gd name="connsiteY14" fmla="*/ 67439 h 166124"/>
                  <a:gd name="connsiteX15" fmla="*/ 122042 w 122041"/>
                  <a:gd name="connsiteY15" fmla="*/ 112468 h 166124"/>
                  <a:gd name="connsiteX16" fmla="*/ 55760 w 122041"/>
                  <a:gd name="connsiteY16" fmla="*/ 166124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41" h="166124">
                    <a:moveTo>
                      <a:pt x="55655" y="166124"/>
                    </a:moveTo>
                    <a:cubicBezTo>
                      <a:pt x="26512" y="166124"/>
                      <a:pt x="4734" y="151079"/>
                      <a:pt x="4734" y="134877"/>
                    </a:cubicBezTo>
                    <a:lnTo>
                      <a:pt x="4734" y="116887"/>
                    </a:lnTo>
                    <a:lnTo>
                      <a:pt x="6207" y="116887"/>
                    </a:lnTo>
                    <a:cubicBezTo>
                      <a:pt x="14729" y="124883"/>
                      <a:pt x="35034" y="131932"/>
                      <a:pt x="53972" y="131932"/>
                    </a:cubicBezTo>
                    <a:cubicBezTo>
                      <a:pt x="72909" y="131932"/>
                      <a:pt x="82799" y="126355"/>
                      <a:pt x="82799" y="114572"/>
                    </a:cubicBezTo>
                    <a:cubicBezTo>
                      <a:pt x="82799" y="105419"/>
                      <a:pt x="77223" y="101000"/>
                      <a:pt x="49763" y="97213"/>
                    </a:cubicBezTo>
                    <a:cubicBezTo>
                      <a:pt x="16202" y="92478"/>
                      <a:pt x="0" y="79222"/>
                      <a:pt x="0" y="55129"/>
                    </a:cubicBezTo>
                    <a:cubicBezTo>
                      <a:pt x="0" y="25355"/>
                      <a:pt x="26828" y="0"/>
                      <a:pt x="67438" y="0"/>
                    </a:cubicBezTo>
                    <a:cubicBezTo>
                      <a:pt x="103420" y="0"/>
                      <a:pt x="118149" y="18517"/>
                      <a:pt x="118149" y="33877"/>
                    </a:cubicBezTo>
                    <a:lnTo>
                      <a:pt x="118149" y="48922"/>
                    </a:lnTo>
                    <a:lnTo>
                      <a:pt x="116676" y="48922"/>
                    </a:lnTo>
                    <a:cubicBezTo>
                      <a:pt x="108470" y="40716"/>
                      <a:pt x="90163" y="34193"/>
                      <a:pt x="71331" y="34193"/>
                    </a:cubicBezTo>
                    <a:cubicBezTo>
                      <a:pt x="47133" y="34193"/>
                      <a:pt x="39558" y="41557"/>
                      <a:pt x="39558" y="51868"/>
                    </a:cubicBezTo>
                    <a:cubicBezTo>
                      <a:pt x="39558" y="59864"/>
                      <a:pt x="44293" y="63020"/>
                      <a:pt x="71331" y="67439"/>
                    </a:cubicBezTo>
                    <a:cubicBezTo>
                      <a:pt x="104367" y="72699"/>
                      <a:pt x="122042" y="87218"/>
                      <a:pt x="122042" y="112468"/>
                    </a:cubicBezTo>
                    <a:cubicBezTo>
                      <a:pt x="122042" y="146029"/>
                      <a:pt x="98475" y="166124"/>
                      <a:pt x="55760" y="166124"/>
                    </a:cubicBezTo>
                    <a:close/>
                  </a:path>
                </a:pathLst>
              </a:custGeom>
              <a:solidFill>
                <a:srgbClr val="004C7D"/>
              </a:solidFill>
              <a:ln w="10508" cap="flat">
                <a:noFill/>
                <a:prstDash val="solid"/>
                <a:miter/>
              </a:ln>
            </p:spPr>
            <p:txBody>
              <a:bodyPr rtlCol="0" anchor="ctr"/>
              <a:lstStyle/>
              <a:p>
                <a:endParaRPr lang="nl-NL"/>
              </a:p>
            </p:txBody>
          </p:sp>
          <p:sp>
            <p:nvSpPr>
              <p:cNvPr id="68" name="Freeform: Shape 67">
                <a:extLst>
                  <a:ext uri="{FF2B5EF4-FFF2-40B4-BE49-F238E27FC236}">
                    <a16:creationId xmlns:a16="http://schemas.microsoft.com/office/drawing/2014/main" id="{0229E85F-A665-4863-9D88-BC9B31A4DC02}"/>
                  </a:ext>
                </a:extLst>
              </p:cNvPr>
              <p:cNvSpPr/>
              <p:nvPr/>
            </p:nvSpPr>
            <p:spPr>
              <a:xfrm>
                <a:off x="5791366" y="2053982"/>
                <a:ext cx="151710" cy="212626"/>
              </a:xfrm>
              <a:custGeom>
                <a:avLst/>
                <a:gdLst>
                  <a:gd name="connsiteX0" fmla="*/ 80169 w 151710"/>
                  <a:gd name="connsiteY0" fmla="*/ 166124 h 212626"/>
                  <a:gd name="connsiteX1" fmla="*/ 40084 w 151710"/>
                  <a:gd name="connsiteY1" fmla="*/ 142558 h 212626"/>
                  <a:gd name="connsiteX2" fmla="*/ 40084 w 151710"/>
                  <a:gd name="connsiteY2" fmla="*/ 212626 h 212626"/>
                  <a:gd name="connsiteX3" fmla="*/ 27670 w 151710"/>
                  <a:gd name="connsiteY3" fmla="*/ 212626 h 212626"/>
                  <a:gd name="connsiteX4" fmla="*/ 0 w 151710"/>
                  <a:gd name="connsiteY4" fmla="*/ 185272 h 212626"/>
                  <a:gd name="connsiteX5" fmla="*/ 0 w 151710"/>
                  <a:gd name="connsiteY5" fmla="*/ 89217 h 212626"/>
                  <a:gd name="connsiteX6" fmla="*/ 79538 w 151710"/>
                  <a:gd name="connsiteY6" fmla="*/ 0 h 212626"/>
                  <a:gd name="connsiteX7" fmla="*/ 151711 w 151710"/>
                  <a:gd name="connsiteY7" fmla="*/ 78380 h 212626"/>
                  <a:gd name="connsiteX8" fmla="*/ 80169 w 151710"/>
                  <a:gd name="connsiteY8" fmla="*/ 166124 h 212626"/>
                  <a:gd name="connsiteX9" fmla="*/ 73436 w 151710"/>
                  <a:gd name="connsiteY9" fmla="*/ 35034 h 212626"/>
                  <a:gd name="connsiteX10" fmla="*/ 39559 w 151710"/>
                  <a:gd name="connsiteY10" fmla="*/ 81326 h 212626"/>
                  <a:gd name="connsiteX11" fmla="*/ 78696 w 151710"/>
                  <a:gd name="connsiteY11" fmla="*/ 131090 h 212626"/>
                  <a:gd name="connsiteX12" fmla="*/ 111100 w 151710"/>
                  <a:gd name="connsiteY12" fmla="*/ 88691 h 212626"/>
                  <a:gd name="connsiteX13" fmla="*/ 73436 w 151710"/>
                  <a:gd name="connsiteY13" fmla="*/ 35034 h 21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710" h="212626">
                    <a:moveTo>
                      <a:pt x="80169" y="166124"/>
                    </a:moveTo>
                    <a:cubicBezTo>
                      <a:pt x="62494" y="166124"/>
                      <a:pt x="48080" y="156130"/>
                      <a:pt x="40084" y="142558"/>
                    </a:cubicBezTo>
                    <a:lnTo>
                      <a:pt x="40084" y="212626"/>
                    </a:lnTo>
                    <a:lnTo>
                      <a:pt x="27670" y="212626"/>
                    </a:lnTo>
                    <a:cubicBezTo>
                      <a:pt x="13572" y="212626"/>
                      <a:pt x="0" y="202316"/>
                      <a:pt x="0" y="185272"/>
                    </a:cubicBezTo>
                    <a:lnTo>
                      <a:pt x="0" y="89217"/>
                    </a:lnTo>
                    <a:cubicBezTo>
                      <a:pt x="0" y="36507"/>
                      <a:pt x="23567" y="0"/>
                      <a:pt x="79538" y="0"/>
                    </a:cubicBezTo>
                    <a:cubicBezTo>
                      <a:pt x="121621" y="0"/>
                      <a:pt x="151711" y="38296"/>
                      <a:pt x="151711" y="78380"/>
                    </a:cubicBezTo>
                    <a:cubicBezTo>
                      <a:pt x="151711" y="129301"/>
                      <a:pt x="126356" y="166124"/>
                      <a:pt x="80169" y="166124"/>
                    </a:cubicBezTo>
                    <a:close/>
                    <a:moveTo>
                      <a:pt x="73436" y="35034"/>
                    </a:moveTo>
                    <a:cubicBezTo>
                      <a:pt x="51657" y="35034"/>
                      <a:pt x="39559" y="53867"/>
                      <a:pt x="39559" y="81326"/>
                    </a:cubicBezTo>
                    <a:cubicBezTo>
                      <a:pt x="39559" y="113099"/>
                      <a:pt x="55129" y="131090"/>
                      <a:pt x="78696" y="131090"/>
                    </a:cubicBezTo>
                    <a:cubicBezTo>
                      <a:pt x="97844" y="131090"/>
                      <a:pt x="111100" y="114046"/>
                      <a:pt x="111100" y="88691"/>
                    </a:cubicBezTo>
                    <a:cubicBezTo>
                      <a:pt x="111100" y="51237"/>
                      <a:pt x="98686" y="35034"/>
                      <a:pt x="73436" y="35034"/>
                    </a:cubicBezTo>
                    <a:close/>
                  </a:path>
                </a:pathLst>
              </a:custGeom>
              <a:solidFill>
                <a:srgbClr val="004C7D"/>
              </a:solidFill>
              <a:ln w="10508" cap="flat">
                <a:noFill/>
                <a:prstDash val="solid"/>
                <a:miter/>
              </a:ln>
            </p:spPr>
            <p:txBody>
              <a:bodyPr rtlCol="0" anchor="ctr"/>
              <a:lstStyle/>
              <a:p>
                <a:endParaRPr lang="nl-NL"/>
              </a:p>
            </p:txBody>
          </p:sp>
          <p:sp>
            <p:nvSpPr>
              <p:cNvPr id="69" name="Freeform: Shape 68">
                <a:extLst>
                  <a:ext uri="{FF2B5EF4-FFF2-40B4-BE49-F238E27FC236}">
                    <a16:creationId xmlns:a16="http://schemas.microsoft.com/office/drawing/2014/main" id="{D2721018-1E37-47F3-93E7-14A9F70118FF}"/>
                  </a:ext>
                </a:extLst>
              </p:cNvPr>
              <p:cNvSpPr/>
              <p:nvPr/>
            </p:nvSpPr>
            <p:spPr>
              <a:xfrm>
                <a:off x="5964119" y="2054508"/>
                <a:ext cx="131615" cy="164651"/>
              </a:xfrm>
              <a:custGeom>
                <a:avLst/>
                <a:gdLst>
                  <a:gd name="connsiteX0" fmla="*/ 71647 w 131615"/>
                  <a:gd name="connsiteY0" fmla="*/ 164651 h 164651"/>
                  <a:gd name="connsiteX1" fmla="*/ 63651 w 131615"/>
                  <a:gd name="connsiteY1" fmla="*/ 164651 h 164651"/>
                  <a:gd name="connsiteX2" fmla="*/ 0 w 131615"/>
                  <a:gd name="connsiteY2" fmla="*/ 114256 h 164651"/>
                  <a:gd name="connsiteX3" fmla="*/ 78906 w 131615"/>
                  <a:gd name="connsiteY3" fmla="*/ 64493 h 164651"/>
                  <a:gd name="connsiteX4" fmla="*/ 92794 w 131615"/>
                  <a:gd name="connsiteY4" fmla="*/ 64493 h 164651"/>
                  <a:gd name="connsiteX5" fmla="*/ 92794 w 131615"/>
                  <a:gd name="connsiteY5" fmla="*/ 62389 h 164651"/>
                  <a:gd name="connsiteX6" fmla="*/ 58601 w 131615"/>
                  <a:gd name="connsiteY6" fmla="*/ 33246 h 164651"/>
                  <a:gd name="connsiteX7" fmla="*/ 8206 w 131615"/>
                  <a:gd name="connsiteY7" fmla="*/ 51552 h 164651"/>
                  <a:gd name="connsiteX8" fmla="*/ 6733 w 131615"/>
                  <a:gd name="connsiteY8" fmla="*/ 51552 h 164651"/>
                  <a:gd name="connsiteX9" fmla="*/ 6733 w 131615"/>
                  <a:gd name="connsiteY9" fmla="*/ 38927 h 164651"/>
                  <a:gd name="connsiteX10" fmla="*/ 64493 w 131615"/>
                  <a:gd name="connsiteY10" fmla="*/ 0 h 164651"/>
                  <a:gd name="connsiteX11" fmla="*/ 131616 w 131615"/>
                  <a:gd name="connsiteY11" fmla="*/ 71331 h 164651"/>
                  <a:gd name="connsiteX12" fmla="*/ 131616 w 131615"/>
                  <a:gd name="connsiteY12" fmla="*/ 107839 h 164651"/>
                  <a:gd name="connsiteX13" fmla="*/ 71542 w 131615"/>
                  <a:gd name="connsiteY13" fmla="*/ 164651 h 164651"/>
                  <a:gd name="connsiteX14" fmla="*/ 93215 w 131615"/>
                  <a:gd name="connsiteY14" fmla="*/ 92794 h 164651"/>
                  <a:gd name="connsiteX15" fmla="*/ 79117 w 131615"/>
                  <a:gd name="connsiteY15" fmla="*/ 92794 h 164651"/>
                  <a:gd name="connsiteX16" fmla="*/ 40505 w 131615"/>
                  <a:gd name="connsiteY16" fmla="*/ 112784 h 164651"/>
                  <a:gd name="connsiteX17" fmla="*/ 67859 w 131615"/>
                  <a:gd name="connsiteY17" fmla="*/ 132563 h 164651"/>
                  <a:gd name="connsiteX18" fmla="*/ 93215 w 131615"/>
                  <a:gd name="connsiteY18" fmla="*/ 108154 h 164651"/>
                  <a:gd name="connsiteX19" fmla="*/ 93215 w 131615"/>
                  <a:gd name="connsiteY19" fmla="*/ 92794 h 1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615" h="164651">
                    <a:moveTo>
                      <a:pt x="71647" y="164651"/>
                    </a:moveTo>
                    <a:lnTo>
                      <a:pt x="63651" y="164651"/>
                    </a:lnTo>
                    <a:cubicBezTo>
                      <a:pt x="25987" y="164651"/>
                      <a:pt x="0" y="143399"/>
                      <a:pt x="0" y="114256"/>
                    </a:cubicBezTo>
                    <a:cubicBezTo>
                      <a:pt x="0" y="85114"/>
                      <a:pt x="20621" y="64493"/>
                      <a:pt x="78906" y="64493"/>
                    </a:cubicBezTo>
                    <a:lnTo>
                      <a:pt x="92794" y="64493"/>
                    </a:lnTo>
                    <a:lnTo>
                      <a:pt x="92794" y="62389"/>
                    </a:lnTo>
                    <a:cubicBezTo>
                      <a:pt x="92794" y="39979"/>
                      <a:pt x="82168" y="33246"/>
                      <a:pt x="58601" y="33246"/>
                    </a:cubicBezTo>
                    <a:cubicBezTo>
                      <a:pt x="29984" y="33246"/>
                      <a:pt x="14098" y="44188"/>
                      <a:pt x="8206" y="51552"/>
                    </a:cubicBezTo>
                    <a:lnTo>
                      <a:pt x="6733" y="51552"/>
                    </a:lnTo>
                    <a:lnTo>
                      <a:pt x="6733" y="38927"/>
                    </a:lnTo>
                    <a:cubicBezTo>
                      <a:pt x="6733" y="21252"/>
                      <a:pt x="22620" y="0"/>
                      <a:pt x="64493" y="0"/>
                    </a:cubicBezTo>
                    <a:cubicBezTo>
                      <a:pt x="99843" y="0"/>
                      <a:pt x="131616" y="16518"/>
                      <a:pt x="131616" y="71331"/>
                    </a:cubicBezTo>
                    <a:lnTo>
                      <a:pt x="131616" y="107839"/>
                    </a:lnTo>
                    <a:cubicBezTo>
                      <a:pt x="131616" y="141400"/>
                      <a:pt x="106892" y="164651"/>
                      <a:pt x="71542" y="164651"/>
                    </a:cubicBezTo>
                    <a:close/>
                    <a:moveTo>
                      <a:pt x="93215" y="92794"/>
                    </a:moveTo>
                    <a:lnTo>
                      <a:pt x="79117" y="92794"/>
                    </a:lnTo>
                    <a:cubicBezTo>
                      <a:pt x="49027" y="92794"/>
                      <a:pt x="40505" y="99843"/>
                      <a:pt x="40505" y="112784"/>
                    </a:cubicBezTo>
                    <a:cubicBezTo>
                      <a:pt x="40505" y="125724"/>
                      <a:pt x="50500" y="132563"/>
                      <a:pt x="67859" y="132563"/>
                    </a:cubicBezTo>
                    <a:cubicBezTo>
                      <a:pt x="85219" y="132563"/>
                      <a:pt x="93215" y="124357"/>
                      <a:pt x="93215" y="108154"/>
                    </a:cubicBezTo>
                    <a:lnTo>
                      <a:pt x="93215" y="92794"/>
                    </a:lnTo>
                    <a:close/>
                  </a:path>
                </a:pathLst>
              </a:custGeom>
              <a:solidFill>
                <a:srgbClr val="004C7D"/>
              </a:solidFill>
              <a:ln w="10508"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0BBBE343-899E-4B9B-A303-0AB429747BBF}"/>
                  </a:ext>
                </a:extLst>
              </p:cNvPr>
              <p:cNvSpPr/>
              <p:nvPr/>
            </p:nvSpPr>
            <p:spPr>
              <a:xfrm>
                <a:off x="6119407" y="2055981"/>
                <a:ext cx="129091" cy="163494"/>
              </a:xfrm>
              <a:custGeom>
                <a:avLst/>
                <a:gdLst>
                  <a:gd name="connsiteX0" fmla="*/ 127618 w 129091"/>
                  <a:gd name="connsiteY0" fmla="*/ 52710 h 163494"/>
                  <a:gd name="connsiteX1" fmla="*/ 84588 w 129091"/>
                  <a:gd name="connsiteY1" fmla="*/ 36192 h 163494"/>
                  <a:gd name="connsiteX2" fmla="*/ 41242 w 129091"/>
                  <a:gd name="connsiteY2" fmla="*/ 78275 h 163494"/>
                  <a:gd name="connsiteX3" fmla="*/ 85114 w 129091"/>
                  <a:gd name="connsiteY3" fmla="*/ 126881 h 163494"/>
                  <a:gd name="connsiteX4" fmla="*/ 126987 w 129091"/>
                  <a:gd name="connsiteY4" fmla="*/ 112152 h 163494"/>
                  <a:gd name="connsiteX5" fmla="*/ 128460 w 129091"/>
                  <a:gd name="connsiteY5" fmla="*/ 112152 h 163494"/>
                  <a:gd name="connsiteX6" fmla="*/ 128460 w 129091"/>
                  <a:gd name="connsiteY6" fmla="*/ 130459 h 163494"/>
                  <a:gd name="connsiteX7" fmla="*/ 81326 w 129091"/>
                  <a:gd name="connsiteY7" fmla="*/ 163494 h 163494"/>
                  <a:gd name="connsiteX8" fmla="*/ 0 w 129091"/>
                  <a:gd name="connsiteY8" fmla="*/ 84272 h 163494"/>
                  <a:gd name="connsiteX9" fmla="*/ 85745 w 129091"/>
                  <a:gd name="connsiteY9" fmla="*/ 0 h 163494"/>
                  <a:gd name="connsiteX10" fmla="*/ 129091 w 129091"/>
                  <a:gd name="connsiteY10" fmla="*/ 34193 h 163494"/>
                  <a:gd name="connsiteX11" fmla="*/ 129091 w 129091"/>
                  <a:gd name="connsiteY11" fmla="*/ 52710 h 163494"/>
                  <a:gd name="connsiteX12" fmla="*/ 127618 w 129091"/>
                  <a:gd name="connsiteY12" fmla="*/ 52710 h 1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91" h="163494">
                    <a:moveTo>
                      <a:pt x="127618" y="52710"/>
                    </a:moveTo>
                    <a:cubicBezTo>
                      <a:pt x="122358" y="43556"/>
                      <a:pt x="107313" y="36192"/>
                      <a:pt x="84588" y="36192"/>
                    </a:cubicBezTo>
                    <a:cubicBezTo>
                      <a:pt x="61863" y="36192"/>
                      <a:pt x="41242" y="54708"/>
                      <a:pt x="41242" y="78275"/>
                    </a:cubicBezTo>
                    <a:cubicBezTo>
                      <a:pt x="41242" y="107102"/>
                      <a:pt x="58286" y="126881"/>
                      <a:pt x="85114" y="126881"/>
                    </a:cubicBezTo>
                    <a:cubicBezTo>
                      <a:pt x="107839" y="126881"/>
                      <a:pt x="121305" y="119517"/>
                      <a:pt x="126987" y="112152"/>
                    </a:cubicBezTo>
                    <a:lnTo>
                      <a:pt x="128460" y="112152"/>
                    </a:lnTo>
                    <a:lnTo>
                      <a:pt x="128460" y="130459"/>
                    </a:lnTo>
                    <a:cubicBezTo>
                      <a:pt x="128460" y="149607"/>
                      <a:pt x="109943" y="163494"/>
                      <a:pt x="81326" y="163494"/>
                    </a:cubicBezTo>
                    <a:cubicBezTo>
                      <a:pt x="37770" y="163494"/>
                      <a:pt x="0" y="129617"/>
                      <a:pt x="0" y="84272"/>
                    </a:cubicBezTo>
                    <a:cubicBezTo>
                      <a:pt x="0" y="38927"/>
                      <a:pt x="31563" y="0"/>
                      <a:pt x="85745" y="0"/>
                    </a:cubicBezTo>
                    <a:cubicBezTo>
                      <a:pt x="111101" y="0"/>
                      <a:pt x="129091" y="15360"/>
                      <a:pt x="129091" y="34193"/>
                    </a:cubicBezTo>
                    <a:lnTo>
                      <a:pt x="129091" y="52710"/>
                    </a:lnTo>
                    <a:lnTo>
                      <a:pt x="127618" y="52710"/>
                    </a:lnTo>
                    <a:close/>
                  </a:path>
                </a:pathLst>
              </a:custGeom>
              <a:solidFill>
                <a:srgbClr val="004C7D"/>
              </a:solidFill>
              <a:ln w="10508" cap="flat">
                <a:noFill/>
                <a:prstDash val="solid"/>
                <a:miter/>
              </a:ln>
            </p:spPr>
            <p:txBody>
              <a:bodyPr rtlCol="0" anchor="ctr"/>
              <a:lstStyle/>
              <a:p>
                <a:endParaRPr lang="nl-NL"/>
              </a:p>
            </p:txBody>
          </p:sp>
          <p:sp>
            <p:nvSpPr>
              <p:cNvPr id="71" name="Freeform: Shape 70">
                <a:extLst>
                  <a:ext uri="{FF2B5EF4-FFF2-40B4-BE49-F238E27FC236}">
                    <a16:creationId xmlns:a16="http://schemas.microsoft.com/office/drawing/2014/main" id="{DAD09AD6-D2D7-48E9-8159-BF42B1D155C4}"/>
                  </a:ext>
                </a:extLst>
              </p:cNvPr>
              <p:cNvSpPr/>
              <p:nvPr/>
            </p:nvSpPr>
            <p:spPr>
              <a:xfrm>
                <a:off x="6268803" y="2053982"/>
                <a:ext cx="141400" cy="166124"/>
              </a:xfrm>
              <a:custGeom>
                <a:avLst/>
                <a:gdLst>
                  <a:gd name="connsiteX0" fmla="*/ 66807 w 141400"/>
                  <a:gd name="connsiteY0" fmla="*/ 100053 h 166124"/>
                  <a:gd name="connsiteX1" fmla="*/ 40926 w 141400"/>
                  <a:gd name="connsiteY1" fmla="*/ 100053 h 166124"/>
                  <a:gd name="connsiteX2" fmla="*/ 85429 w 141400"/>
                  <a:gd name="connsiteY2" fmla="*/ 132773 h 166124"/>
                  <a:gd name="connsiteX3" fmla="*/ 134036 w 141400"/>
                  <a:gd name="connsiteY3" fmla="*/ 117728 h 166124"/>
                  <a:gd name="connsiteX4" fmla="*/ 135509 w 141400"/>
                  <a:gd name="connsiteY4" fmla="*/ 117728 h 166124"/>
                  <a:gd name="connsiteX5" fmla="*/ 135509 w 141400"/>
                  <a:gd name="connsiteY5" fmla="*/ 130143 h 166124"/>
                  <a:gd name="connsiteX6" fmla="*/ 78065 w 141400"/>
                  <a:gd name="connsiteY6" fmla="*/ 166124 h 166124"/>
                  <a:gd name="connsiteX7" fmla="*/ 0 w 141400"/>
                  <a:gd name="connsiteY7" fmla="*/ 86271 h 166124"/>
                  <a:gd name="connsiteX8" fmla="*/ 77749 w 141400"/>
                  <a:gd name="connsiteY8" fmla="*/ 0 h 166124"/>
                  <a:gd name="connsiteX9" fmla="*/ 141400 w 141400"/>
                  <a:gd name="connsiteY9" fmla="*/ 61547 h 166124"/>
                  <a:gd name="connsiteX10" fmla="*/ 66913 w 141400"/>
                  <a:gd name="connsiteY10" fmla="*/ 100159 h 166124"/>
                  <a:gd name="connsiteX11" fmla="*/ 74172 w 141400"/>
                  <a:gd name="connsiteY11" fmla="*/ 32930 h 166124"/>
                  <a:gd name="connsiteX12" fmla="*/ 40926 w 141400"/>
                  <a:gd name="connsiteY12" fmla="*/ 66807 h 166124"/>
                  <a:gd name="connsiteX13" fmla="*/ 40611 w 141400"/>
                  <a:gd name="connsiteY13" fmla="*/ 72068 h 166124"/>
                  <a:gd name="connsiteX14" fmla="*/ 58286 w 141400"/>
                  <a:gd name="connsiteY14" fmla="*/ 72068 h 166124"/>
                  <a:gd name="connsiteX15" fmla="*/ 104262 w 141400"/>
                  <a:gd name="connsiteY15" fmla="*/ 56707 h 166124"/>
                  <a:gd name="connsiteX16" fmla="*/ 74172 w 141400"/>
                  <a:gd name="connsiteY16" fmla="*/ 32825 h 16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400" h="166124">
                    <a:moveTo>
                      <a:pt x="66807" y="100053"/>
                    </a:moveTo>
                    <a:lnTo>
                      <a:pt x="40926" y="100053"/>
                    </a:lnTo>
                    <a:cubicBezTo>
                      <a:pt x="43872" y="120043"/>
                      <a:pt x="62178" y="132773"/>
                      <a:pt x="85429" y="132773"/>
                    </a:cubicBezTo>
                    <a:cubicBezTo>
                      <a:pt x="101947" y="132773"/>
                      <a:pt x="121411" y="129512"/>
                      <a:pt x="134036" y="117728"/>
                    </a:cubicBezTo>
                    <a:lnTo>
                      <a:pt x="135509" y="117728"/>
                    </a:lnTo>
                    <a:lnTo>
                      <a:pt x="135509" y="130143"/>
                    </a:lnTo>
                    <a:cubicBezTo>
                      <a:pt x="135509" y="150448"/>
                      <a:pt x="121621" y="166124"/>
                      <a:pt x="78065" y="166124"/>
                    </a:cubicBezTo>
                    <a:cubicBezTo>
                      <a:pt x="38612" y="166124"/>
                      <a:pt x="0" y="134877"/>
                      <a:pt x="0" y="86271"/>
                    </a:cubicBezTo>
                    <a:cubicBezTo>
                      <a:pt x="0" y="33246"/>
                      <a:pt x="32404" y="0"/>
                      <a:pt x="77749" y="0"/>
                    </a:cubicBezTo>
                    <a:cubicBezTo>
                      <a:pt x="110785" y="0"/>
                      <a:pt x="141400" y="23567"/>
                      <a:pt x="141400" y="61547"/>
                    </a:cubicBezTo>
                    <a:cubicBezTo>
                      <a:pt x="141400" y="90690"/>
                      <a:pt x="119306" y="100159"/>
                      <a:pt x="66913" y="100159"/>
                    </a:cubicBezTo>
                    <a:close/>
                    <a:moveTo>
                      <a:pt x="74172" y="32930"/>
                    </a:moveTo>
                    <a:cubicBezTo>
                      <a:pt x="55024" y="32930"/>
                      <a:pt x="41768" y="48501"/>
                      <a:pt x="40926" y="66807"/>
                    </a:cubicBezTo>
                    <a:lnTo>
                      <a:pt x="40611" y="72068"/>
                    </a:lnTo>
                    <a:lnTo>
                      <a:pt x="58286" y="72068"/>
                    </a:lnTo>
                    <a:cubicBezTo>
                      <a:pt x="95740" y="72068"/>
                      <a:pt x="104262" y="67965"/>
                      <a:pt x="104262" y="56707"/>
                    </a:cubicBezTo>
                    <a:cubicBezTo>
                      <a:pt x="104262" y="40821"/>
                      <a:pt x="92478" y="32825"/>
                      <a:pt x="74172" y="32825"/>
                    </a:cubicBezTo>
                    <a:close/>
                  </a:path>
                </a:pathLst>
              </a:custGeom>
              <a:solidFill>
                <a:srgbClr val="004C7D"/>
              </a:solidFill>
              <a:ln w="10508" cap="flat">
                <a:noFill/>
                <a:prstDash val="solid"/>
                <a:miter/>
              </a:ln>
            </p:spPr>
            <p:txBody>
              <a:bodyPr rtlCol="0" anchor="ctr"/>
              <a:lstStyle/>
              <a:p>
                <a:endParaRPr lang="nl-NL"/>
              </a:p>
            </p:txBody>
          </p:sp>
        </p:grpSp>
        <p:sp>
          <p:nvSpPr>
            <p:cNvPr id="39" name="Freeform: Shape 38">
              <a:extLst>
                <a:ext uri="{FF2B5EF4-FFF2-40B4-BE49-F238E27FC236}">
                  <a16:creationId xmlns:a16="http://schemas.microsoft.com/office/drawing/2014/main" id="{35DB4A29-5B1B-41FE-99F0-DF312AD76F10}"/>
                </a:ext>
              </a:extLst>
            </p:cNvPr>
            <p:cNvSpPr/>
            <p:nvPr/>
          </p:nvSpPr>
          <p:spPr>
            <a:xfrm>
              <a:off x="4489937" y="1302687"/>
              <a:ext cx="31562" cy="1012211"/>
            </a:xfrm>
            <a:custGeom>
              <a:avLst/>
              <a:gdLst>
                <a:gd name="connsiteX0" fmla="*/ 15781 w 31562"/>
                <a:gd name="connsiteY0" fmla="*/ 1012211 h 1012211"/>
                <a:gd name="connsiteX1" fmla="*/ 0 w 31562"/>
                <a:gd name="connsiteY1" fmla="*/ 996430 h 1012211"/>
                <a:gd name="connsiteX2" fmla="*/ 0 w 31562"/>
                <a:gd name="connsiteY2" fmla="*/ 15781 h 1012211"/>
                <a:gd name="connsiteX3" fmla="*/ 15781 w 31562"/>
                <a:gd name="connsiteY3" fmla="*/ 0 h 1012211"/>
                <a:gd name="connsiteX4" fmla="*/ 31563 w 31562"/>
                <a:gd name="connsiteY4" fmla="*/ 15781 h 1012211"/>
                <a:gd name="connsiteX5" fmla="*/ 31563 w 31562"/>
                <a:gd name="connsiteY5" fmla="*/ 996325 h 1012211"/>
                <a:gd name="connsiteX6" fmla="*/ 15781 w 31562"/>
                <a:gd name="connsiteY6" fmla="*/ 1012106 h 101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62" h="1012211">
                  <a:moveTo>
                    <a:pt x="15781" y="1012211"/>
                  </a:moveTo>
                  <a:cubicBezTo>
                    <a:pt x="7049" y="1012211"/>
                    <a:pt x="0" y="1005162"/>
                    <a:pt x="0" y="996430"/>
                  </a:cubicBezTo>
                  <a:lnTo>
                    <a:pt x="0" y="15781"/>
                  </a:lnTo>
                  <a:cubicBezTo>
                    <a:pt x="0" y="7049"/>
                    <a:pt x="7049" y="0"/>
                    <a:pt x="15781" y="0"/>
                  </a:cubicBezTo>
                  <a:cubicBezTo>
                    <a:pt x="24514" y="0"/>
                    <a:pt x="31563" y="7049"/>
                    <a:pt x="31563" y="15781"/>
                  </a:cubicBezTo>
                  <a:lnTo>
                    <a:pt x="31563" y="996325"/>
                  </a:lnTo>
                  <a:cubicBezTo>
                    <a:pt x="31563" y="1005057"/>
                    <a:pt x="24514" y="1012106"/>
                    <a:pt x="15781" y="1012106"/>
                  </a:cubicBezTo>
                  <a:close/>
                </a:path>
              </a:pathLst>
            </a:custGeom>
            <a:solidFill>
              <a:srgbClr val="004C7D"/>
            </a:solidFill>
            <a:ln w="10508" cap="flat">
              <a:noFill/>
              <a:prstDash val="solid"/>
              <a:miter/>
            </a:ln>
          </p:spPr>
          <p:txBody>
            <a:bodyPr rtlCol="0" anchor="ctr"/>
            <a:lstStyle/>
            <a:p>
              <a:endParaRPr lang="nl-NL"/>
            </a:p>
          </p:txBody>
        </p:sp>
      </p:grpSp>
      <p:pic>
        <p:nvPicPr>
          <p:cNvPr id="84" name="Graphic 83">
            <a:extLst>
              <a:ext uri="{FF2B5EF4-FFF2-40B4-BE49-F238E27FC236}">
                <a16:creationId xmlns:a16="http://schemas.microsoft.com/office/drawing/2014/main" id="{64B0CC6E-CC14-44B1-8346-B932B4A55A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247349" y="4091576"/>
            <a:ext cx="106680" cy="106680"/>
          </a:xfrm>
          <a:prstGeom prst="rect">
            <a:avLst/>
          </a:prstGeom>
        </p:spPr>
      </p:pic>
      <p:sp>
        <p:nvSpPr>
          <p:cNvPr id="85" name="Rectangle 84">
            <a:extLst>
              <a:ext uri="{FF2B5EF4-FFF2-40B4-BE49-F238E27FC236}">
                <a16:creationId xmlns:a16="http://schemas.microsoft.com/office/drawing/2014/main" id="{55EE8CA4-780B-4128-9423-FF43A6667327}"/>
              </a:ext>
            </a:extLst>
          </p:cNvPr>
          <p:cNvSpPr/>
          <p:nvPr userDrawn="1"/>
        </p:nvSpPr>
        <p:spPr>
          <a:xfrm>
            <a:off x="8353211" y="4874482"/>
            <a:ext cx="168441" cy="269018"/>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21" name="Text Placeholder 2"/>
          <p:cNvSpPr>
            <a:spLocks noGrp="1"/>
          </p:cNvSpPr>
          <p:nvPr>
            <p:ph type="body" idx="23" hasCustomPrompt="1"/>
          </p:nvPr>
        </p:nvSpPr>
        <p:spPr>
          <a:xfrm>
            <a:off x="5521976" y="3565865"/>
            <a:ext cx="3144129" cy="451394"/>
          </a:xfrm>
          <a:prstGeom prst="rect">
            <a:avLst/>
          </a:prstGeom>
          <a:noFill/>
          <a:ln>
            <a:noFill/>
          </a:ln>
        </p:spPr>
        <p:txBody>
          <a:bodyPr lIns="0" rIns="90000" anchor="t" anchorCtr="0"/>
          <a:lstStyle>
            <a:lvl1pPr marL="0" indent="0">
              <a:spcBef>
                <a:spcPts val="0"/>
              </a:spcBef>
              <a:buNone/>
              <a:defRPr sz="10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your Name</a:t>
            </a:r>
            <a:br>
              <a:rPr lang="en-GB" noProof="0" dirty="0"/>
            </a:br>
            <a:r>
              <a:rPr lang="en-GB" noProof="0" dirty="0"/>
              <a:t>and Function</a:t>
            </a:r>
          </a:p>
        </p:txBody>
      </p:sp>
      <p:sp>
        <p:nvSpPr>
          <p:cNvPr id="22" name="Text Placeholder 2"/>
          <p:cNvSpPr>
            <a:spLocks noGrp="1"/>
          </p:cNvSpPr>
          <p:nvPr>
            <p:ph type="body" idx="24" hasCustomPrompt="1"/>
          </p:nvPr>
        </p:nvSpPr>
        <p:spPr>
          <a:xfrm>
            <a:off x="5731809" y="4018879"/>
            <a:ext cx="2934296" cy="422011"/>
          </a:xfrm>
          <a:prstGeom prst="rect">
            <a:avLst/>
          </a:prstGeom>
          <a:noFill/>
          <a:ln>
            <a:noFill/>
          </a:ln>
        </p:spPr>
        <p:txBody>
          <a:bodyPr lIns="0" rIns="90000" anchor="t" anchorCtr="0"/>
          <a:lstStyle>
            <a:lvl1pPr marL="0" indent="0">
              <a:spcBef>
                <a:spcPts val="0"/>
              </a:spcBef>
              <a:buNone/>
              <a:defRPr sz="1000" b="0" cap="none"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31 88 511 . .  . .  Click to edit</a:t>
            </a:r>
            <a:br>
              <a:rPr lang="en-GB" noProof="0" dirty="0"/>
            </a:br>
            <a:r>
              <a:rPr lang="en-GB" noProof="0" dirty="0"/>
              <a:t>. . . . . . . . @nlr.nl</a:t>
            </a:r>
          </a:p>
        </p:txBody>
      </p:sp>
    </p:spTree>
    <p:extLst>
      <p:ext uri="{BB962C8B-B14F-4D97-AF65-F5344CB8AC3E}">
        <p14:creationId xmlns:p14="http://schemas.microsoft.com/office/powerpoint/2010/main" val="471667497"/>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KLM reizen / vliegtuig / no image">
    <p:spTree>
      <p:nvGrpSpPr>
        <p:cNvPr id="1" name=""/>
        <p:cNvGrpSpPr/>
        <p:nvPr/>
      </p:nvGrpSpPr>
      <p:grpSpPr>
        <a:xfrm>
          <a:off x="0" y="0"/>
          <a:ext cx="0" cy="0"/>
          <a:chOff x="0" y="0"/>
          <a:chExt cx="0" cy="0"/>
        </a:xfrm>
      </p:grpSpPr>
      <p:graphicFrame>
        <p:nvGraphicFramePr>
          <p:cNvPr id="4" name="Object 9"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4" name="Object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446990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Content Bullet">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118"/>
            <a:ext cx="9143999" cy="5149735"/>
          </a:xfrm>
          <a:prstGeom prst="rect">
            <a:avLst/>
          </a:prstGeom>
        </p:spPr>
      </p:pic>
      <p:sp>
        <p:nvSpPr>
          <p:cNvPr id="2" name="Titel 1"/>
          <p:cNvSpPr>
            <a:spLocks noGrp="1"/>
          </p:cNvSpPr>
          <p:nvPr>
            <p:ph type="title"/>
          </p:nvPr>
        </p:nvSpPr>
        <p:spPr>
          <a:xfrm>
            <a:off x="424800" y="900000"/>
            <a:ext cx="8301600" cy="720000"/>
          </a:xfrm>
          <a:prstGeom prst="rect">
            <a:avLst/>
          </a:prstGeom>
        </p:spPr>
        <p:txBody>
          <a:bodyPr/>
          <a:lstStyle/>
          <a:p>
            <a:r>
              <a:rPr lang="nl-NL" dirty="0"/>
              <a:t>Klik om stijl te bewerken</a:t>
            </a:r>
          </a:p>
        </p:txBody>
      </p:sp>
      <p:sp>
        <p:nvSpPr>
          <p:cNvPr id="3" name="Tijdelijke aanduiding voor inhoud 2"/>
          <p:cNvSpPr>
            <a:spLocks noGrp="1"/>
          </p:cNvSpPr>
          <p:nvPr>
            <p:ph idx="1"/>
          </p:nvPr>
        </p:nvSpPr>
        <p:spPr>
          <a:xfrm>
            <a:off x="424800" y="1746000"/>
            <a:ext cx="8301600" cy="3021263"/>
          </a:xfrm>
          <a:prstGeom prst="rect">
            <a:avLst/>
          </a:prstGeo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jdelijke aanduiding voor dianummer 5"/>
          <p:cNvSpPr>
            <a:spLocks noGrp="1"/>
          </p:cNvSpPr>
          <p:nvPr>
            <p:ph type="sldNum" sz="quarter" idx="4"/>
          </p:nvPr>
        </p:nvSpPr>
        <p:spPr>
          <a:xfrm>
            <a:off x="423136" y="4867994"/>
            <a:ext cx="271098" cy="168990"/>
          </a:xfrm>
          <a:prstGeom prst="rect">
            <a:avLst/>
          </a:prstGeom>
        </p:spPr>
        <p:txBody>
          <a:bodyPr vert="horz" lIns="0" tIns="0" rIns="0" bIns="0" rtlCol="0" anchor="b" anchorCtr="0"/>
          <a:lstStyle>
            <a:lvl1pPr algn="l">
              <a:defRPr sz="550" b="1">
                <a:solidFill>
                  <a:schemeClr val="tx1"/>
                </a:solidFill>
                <a:latin typeface="Arial" pitchFamily="34" charset="0"/>
                <a:cs typeface="Arial" pitchFamily="34" charset="0"/>
              </a:defRPr>
            </a:lvl1pPr>
          </a:lstStyle>
          <a:p>
            <a:fld id="{6CD44126-CD28-6A41-8849-1FDC38168F7B}" type="slidenum">
              <a:rPr lang="nl-NL" smtClean="0"/>
              <a:t>‹#›</a:t>
            </a:fld>
            <a:endParaRPr lang="nl-NL" dirty="0"/>
          </a:p>
        </p:txBody>
      </p:sp>
      <p:sp>
        <p:nvSpPr>
          <p:cNvPr id="7" name="Tijdelijke aanduiding voor datum 6"/>
          <p:cNvSpPr>
            <a:spLocks noGrp="1"/>
          </p:cNvSpPr>
          <p:nvPr>
            <p:ph type="dt" sz="half" idx="10"/>
          </p:nvPr>
        </p:nvSpPr>
        <p:spPr/>
        <p:txBody>
          <a:bodyPr/>
          <a:lstStyle/>
          <a:p>
            <a:endParaRPr lang="nl-NL" dirty="0"/>
          </a:p>
        </p:txBody>
      </p:sp>
      <p:sp>
        <p:nvSpPr>
          <p:cNvPr id="4" name="Tijdelijke aanduiding voor voettekst 3"/>
          <p:cNvSpPr>
            <a:spLocks noGrp="1"/>
          </p:cNvSpPr>
          <p:nvPr>
            <p:ph type="ftr" sz="quarter" idx="11"/>
          </p:nvPr>
        </p:nvSpPr>
        <p:spPr/>
        <p:txBody>
          <a:bodyPr/>
          <a:lstStyle/>
          <a:p>
            <a:r>
              <a:rPr lang="nl-NL"/>
              <a:t>Onregelmatig Werk en Gezondheid: "Lessen" uit de Luchtvaartsector</a:t>
            </a:r>
            <a:endParaRPr lang="nl-NL" dirty="0"/>
          </a:p>
        </p:txBody>
      </p:sp>
    </p:spTree>
    <p:extLst>
      <p:ext uri="{BB962C8B-B14F-4D97-AF65-F5344CB8AC3E}">
        <p14:creationId xmlns:p14="http://schemas.microsoft.com/office/powerpoint/2010/main" val="30737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nl-NL"/>
          </a:p>
        </p:txBody>
      </p:sp>
      <p:sp>
        <p:nvSpPr>
          <p:cNvPr id="3" name="Footer Placeholder 2"/>
          <p:cNvSpPr>
            <a:spLocks noGrp="1"/>
          </p:cNvSpPr>
          <p:nvPr>
            <p:ph type="ftr" sz="quarter" idx="11"/>
          </p:nvPr>
        </p:nvSpPr>
        <p:spPr/>
        <p:txBody>
          <a:bodyPr/>
          <a:lstStyle>
            <a:lvl1pPr>
              <a:defRPr/>
            </a:lvl1pPr>
          </a:lstStyle>
          <a:p>
            <a:pPr>
              <a:defRPr/>
            </a:pPr>
            <a:r>
              <a:rPr lang="nl-NL"/>
              <a:t>Onregelmatig Werk en Gezondheid: "Lessen" uit de Luchtvaartsector</a:t>
            </a:r>
          </a:p>
        </p:txBody>
      </p:sp>
      <p:sp>
        <p:nvSpPr>
          <p:cNvPr id="4" name="Slide Number Placeholder 3"/>
          <p:cNvSpPr>
            <a:spLocks noGrp="1"/>
          </p:cNvSpPr>
          <p:nvPr>
            <p:ph type="sldNum" sz="quarter" idx="12"/>
          </p:nvPr>
        </p:nvSpPr>
        <p:spPr/>
        <p:txBody>
          <a:bodyPr/>
          <a:lstStyle>
            <a:lvl1pPr>
              <a:defRPr/>
            </a:lvl1pPr>
          </a:lstStyle>
          <a:p>
            <a:pPr>
              <a:defRPr/>
            </a:pPr>
            <a:fld id="{B3B5D359-9724-4DD0-AE22-22D1C098C66C}" type="slidenum">
              <a:rPr lang="nl-NL"/>
              <a:pPr>
                <a:defRPr/>
              </a:pPr>
              <a:t>‹#›</a:t>
            </a:fld>
            <a:endParaRPr lang="nl-NL"/>
          </a:p>
        </p:txBody>
      </p:sp>
    </p:spTree>
    <p:extLst>
      <p:ext uri="{BB962C8B-B14F-4D97-AF65-F5344CB8AC3E}">
        <p14:creationId xmlns:p14="http://schemas.microsoft.com/office/powerpoint/2010/main" val="275191512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2 Pictures">
    <p:spTree>
      <p:nvGrpSpPr>
        <p:cNvPr id="1" name=""/>
        <p:cNvGrpSpPr/>
        <p:nvPr/>
      </p:nvGrpSpPr>
      <p:grpSpPr>
        <a:xfrm>
          <a:off x="0" y="0"/>
          <a:ext cx="0" cy="0"/>
          <a:chOff x="0" y="0"/>
          <a:chExt cx="0" cy="0"/>
        </a:xfrm>
      </p:grpSpPr>
      <p:sp>
        <p:nvSpPr>
          <p:cNvPr id="4" name="Rectangle 3"/>
          <p:cNvSpPr/>
          <p:nvPr userDrawn="1"/>
        </p:nvSpPr>
        <p:spPr bwMode="gray">
          <a:xfrm>
            <a:off x="681038" y="2741772"/>
            <a:ext cx="3834000" cy="1788480"/>
          </a:xfrm>
          <a:prstGeom prst="rect">
            <a:avLst/>
          </a:prstGeom>
          <a:solidFill>
            <a:schemeClr val="accent3"/>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16" name="Round Diagonal Corner Rectangle 15"/>
          <p:cNvSpPr/>
          <p:nvPr userDrawn="1"/>
        </p:nvSpPr>
        <p:spPr bwMode="gray">
          <a:xfrm>
            <a:off x="4834752" y="2741772"/>
            <a:ext cx="3836173" cy="1788480"/>
          </a:xfrm>
          <a:custGeom>
            <a:avLst/>
            <a:gdLst>
              <a:gd name="connsiteX0" fmla="*/ 397877 w 3834000"/>
              <a:gd name="connsiteY0" fmla="*/ 0 h 1987200"/>
              <a:gd name="connsiteX1" fmla="*/ 3834000 w 3834000"/>
              <a:gd name="connsiteY1" fmla="*/ 0 h 1987200"/>
              <a:gd name="connsiteX2" fmla="*/ 3834000 w 3834000"/>
              <a:gd name="connsiteY2" fmla="*/ 0 h 1987200"/>
              <a:gd name="connsiteX3" fmla="*/ 3834000 w 3834000"/>
              <a:gd name="connsiteY3" fmla="*/ 1589323 h 1987200"/>
              <a:gd name="connsiteX4" fmla="*/ 3436123 w 3834000"/>
              <a:gd name="connsiteY4" fmla="*/ 1987200 h 1987200"/>
              <a:gd name="connsiteX5" fmla="*/ 0 w 3834000"/>
              <a:gd name="connsiteY5" fmla="*/ 1987200 h 1987200"/>
              <a:gd name="connsiteX6" fmla="*/ 0 w 3834000"/>
              <a:gd name="connsiteY6" fmla="*/ 1987200 h 1987200"/>
              <a:gd name="connsiteX7" fmla="*/ 0 w 3834000"/>
              <a:gd name="connsiteY7" fmla="*/ 397877 h 1987200"/>
              <a:gd name="connsiteX8" fmla="*/ 397877 w 3834000"/>
              <a:gd name="connsiteY8" fmla="*/ 0 h 1987200"/>
              <a:gd name="connsiteX0" fmla="*/ 97102 w 3933275"/>
              <a:gd name="connsiteY0" fmla="*/ 0 h 1987200"/>
              <a:gd name="connsiteX1" fmla="*/ 3933275 w 3933275"/>
              <a:gd name="connsiteY1" fmla="*/ 0 h 1987200"/>
              <a:gd name="connsiteX2" fmla="*/ 3933275 w 3933275"/>
              <a:gd name="connsiteY2" fmla="*/ 0 h 1987200"/>
              <a:gd name="connsiteX3" fmla="*/ 3933275 w 3933275"/>
              <a:gd name="connsiteY3" fmla="*/ 1589323 h 1987200"/>
              <a:gd name="connsiteX4" fmla="*/ 3535398 w 3933275"/>
              <a:gd name="connsiteY4" fmla="*/ 1987200 h 1987200"/>
              <a:gd name="connsiteX5" fmla="*/ 99275 w 3933275"/>
              <a:gd name="connsiteY5" fmla="*/ 1987200 h 1987200"/>
              <a:gd name="connsiteX6" fmla="*/ 99275 w 3933275"/>
              <a:gd name="connsiteY6" fmla="*/ 1987200 h 1987200"/>
              <a:gd name="connsiteX7" fmla="*/ 99275 w 3933275"/>
              <a:gd name="connsiteY7" fmla="*/ 397877 h 1987200"/>
              <a:gd name="connsiteX8" fmla="*/ 97102 w 3933275"/>
              <a:gd name="connsiteY8" fmla="*/ 0 h 1987200"/>
              <a:gd name="connsiteX0" fmla="*/ 0 w 3836173"/>
              <a:gd name="connsiteY0" fmla="*/ 0 h 1987200"/>
              <a:gd name="connsiteX1" fmla="*/ 3836173 w 3836173"/>
              <a:gd name="connsiteY1" fmla="*/ 0 h 1987200"/>
              <a:gd name="connsiteX2" fmla="*/ 3836173 w 3836173"/>
              <a:gd name="connsiteY2" fmla="*/ 0 h 1987200"/>
              <a:gd name="connsiteX3" fmla="*/ 3836173 w 3836173"/>
              <a:gd name="connsiteY3" fmla="*/ 1589323 h 1987200"/>
              <a:gd name="connsiteX4" fmla="*/ 3438296 w 3836173"/>
              <a:gd name="connsiteY4" fmla="*/ 1987200 h 1987200"/>
              <a:gd name="connsiteX5" fmla="*/ 2173 w 3836173"/>
              <a:gd name="connsiteY5" fmla="*/ 1987200 h 1987200"/>
              <a:gd name="connsiteX6" fmla="*/ 2173 w 3836173"/>
              <a:gd name="connsiteY6" fmla="*/ 1987200 h 1987200"/>
              <a:gd name="connsiteX7" fmla="*/ 2173 w 3836173"/>
              <a:gd name="connsiteY7" fmla="*/ 397877 h 1987200"/>
              <a:gd name="connsiteX8" fmla="*/ 0 w 3836173"/>
              <a:gd name="connsiteY8" fmla="*/ 0 h 1987200"/>
              <a:gd name="connsiteX0" fmla="*/ 0 w 3836173"/>
              <a:gd name="connsiteY0" fmla="*/ 0 h 1987200"/>
              <a:gd name="connsiteX1" fmla="*/ 3836173 w 3836173"/>
              <a:gd name="connsiteY1" fmla="*/ 0 h 1987200"/>
              <a:gd name="connsiteX2" fmla="*/ 3836173 w 3836173"/>
              <a:gd name="connsiteY2" fmla="*/ 0 h 1987200"/>
              <a:gd name="connsiteX3" fmla="*/ 3836173 w 3836173"/>
              <a:gd name="connsiteY3" fmla="*/ 1589323 h 1987200"/>
              <a:gd name="connsiteX4" fmla="*/ 3438296 w 3836173"/>
              <a:gd name="connsiteY4" fmla="*/ 1987200 h 1987200"/>
              <a:gd name="connsiteX5" fmla="*/ 2173 w 3836173"/>
              <a:gd name="connsiteY5" fmla="*/ 1987200 h 1987200"/>
              <a:gd name="connsiteX6" fmla="*/ 2173 w 3836173"/>
              <a:gd name="connsiteY6" fmla="*/ 1987200 h 1987200"/>
              <a:gd name="connsiteX7" fmla="*/ 0 w 3836173"/>
              <a:gd name="connsiteY7" fmla="*/ 0 h 198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6173" h="1987200">
                <a:moveTo>
                  <a:pt x="0" y="0"/>
                </a:moveTo>
                <a:lnTo>
                  <a:pt x="3836173" y="0"/>
                </a:lnTo>
                <a:lnTo>
                  <a:pt x="3836173" y="0"/>
                </a:lnTo>
                <a:lnTo>
                  <a:pt x="3836173" y="1589323"/>
                </a:lnTo>
                <a:cubicBezTo>
                  <a:pt x="3836173" y="1809064"/>
                  <a:pt x="3658037" y="1987200"/>
                  <a:pt x="3438296" y="1987200"/>
                </a:cubicBezTo>
                <a:lnTo>
                  <a:pt x="2173" y="1987200"/>
                </a:lnTo>
                <a:lnTo>
                  <a:pt x="2173" y="1987200"/>
                </a:lnTo>
                <a:cubicBezTo>
                  <a:pt x="1449" y="1324800"/>
                  <a:pt x="724" y="662400"/>
                  <a:pt x="0" y="0"/>
                </a:cubicBezTo>
                <a:close/>
              </a:path>
            </a:pathLst>
          </a:custGeom>
          <a:solidFill>
            <a:schemeClr val="accent3"/>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p>
        </p:txBody>
      </p:sp>
      <p:sp>
        <p:nvSpPr>
          <p:cNvPr id="17" name="Content Placeholder 15"/>
          <p:cNvSpPr>
            <a:spLocks noGrp="1"/>
          </p:cNvSpPr>
          <p:nvPr>
            <p:ph sz="quarter" idx="19" hasCustomPrompt="1"/>
          </p:nvPr>
        </p:nvSpPr>
        <p:spPr bwMode="gray">
          <a:xfrm>
            <a:off x="681038" y="2741773"/>
            <a:ext cx="3826794" cy="1788480"/>
          </a:xfrm>
          <a:prstGeom prst="rect">
            <a:avLst/>
          </a:prstGeom>
        </p:spPr>
        <p:txBody>
          <a:bodyPr anchor="t" anchorCtr="0"/>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Picture</a:t>
            </a:r>
          </a:p>
        </p:txBody>
      </p:sp>
      <p:sp>
        <p:nvSpPr>
          <p:cNvPr id="18" name="Content Placeholder 15"/>
          <p:cNvSpPr>
            <a:spLocks noGrp="1"/>
          </p:cNvSpPr>
          <p:nvPr>
            <p:ph sz="quarter" idx="20" hasCustomPrompt="1"/>
          </p:nvPr>
        </p:nvSpPr>
        <p:spPr bwMode="gray">
          <a:xfrm>
            <a:off x="4834751" y="2741773"/>
            <a:ext cx="3826794" cy="1788480"/>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picture</a:t>
            </a:r>
          </a:p>
        </p:txBody>
      </p:sp>
      <p:sp>
        <p:nvSpPr>
          <p:cNvPr id="12" name="Content Placeholder 2">
            <a:extLst>
              <a:ext uri="{FF2B5EF4-FFF2-40B4-BE49-F238E27FC236}">
                <a16:creationId xmlns:a16="http://schemas.microsoft.com/office/drawing/2014/main" id="{8735B5C1-1861-4C7C-B5CF-B44426657DC6}"/>
              </a:ext>
            </a:extLst>
          </p:cNvPr>
          <p:cNvSpPr>
            <a:spLocks noGrp="1"/>
          </p:cNvSpPr>
          <p:nvPr>
            <p:ph idx="1"/>
          </p:nvPr>
        </p:nvSpPr>
        <p:spPr>
          <a:xfrm>
            <a:off x="792163" y="1029601"/>
            <a:ext cx="7773988" cy="1635856"/>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Title Placeholder 1">
            <a:extLst>
              <a:ext uri="{FF2B5EF4-FFF2-40B4-BE49-F238E27FC236}">
                <a16:creationId xmlns:a16="http://schemas.microsoft.com/office/drawing/2014/main" id="{2B35C926-30FC-448B-BF1D-D9B8951C2DC5}"/>
              </a:ext>
            </a:extLst>
          </p:cNvPr>
          <p:cNvSpPr>
            <a:spLocks noGrp="1"/>
          </p:cNvSpPr>
          <p:nvPr>
            <p:ph type="title"/>
          </p:nvPr>
        </p:nvSpPr>
        <p:spPr>
          <a:xfrm>
            <a:off x="792163" y="334800"/>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25594410"/>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Log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16" name="Content Placeholder 15"/>
          <p:cNvSpPr>
            <a:spLocks noGrp="1"/>
          </p:cNvSpPr>
          <p:nvPr>
            <p:ph sz="quarter" idx="19" hasCustomPrompt="1"/>
          </p:nvPr>
        </p:nvSpPr>
        <p:spPr>
          <a:xfrm>
            <a:off x="576788" y="4140720"/>
            <a:ext cx="1220787" cy="578055"/>
          </a:xfrm>
          <a:prstGeom prst="rect">
            <a:avLst/>
          </a:prstGeom>
        </p:spPr>
        <p:txBody>
          <a:bodyPr anchor="t" anchorCtr="0"/>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17" name="Content Placeholder 15"/>
          <p:cNvSpPr>
            <a:spLocks noGrp="1"/>
          </p:cNvSpPr>
          <p:nvPr>
            <p:ph sz="quarter" idx="20" hasCustomPrompt="1"/>
          </p:nvPr>
        </p:nvSpPr>
        <p:spPr>
          <a:xfrm>
            <a:off x="1930503" y="4140720"/>
            <a:ext cx="1220787" cy="578055"/>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18" name="Content Placeholder 15"/>
          <p:cNvSpPr>
            <a:spLocks noGrp="1"/>
          </p:cNvSpPr>
          <p:nvPr>
            <p:ph sz="quarter" idx="21" hasCustomPrompt="1"/>
          </p:nvPr>
        </p:nvSpPr>
        <p:spPr>
          <a:xfrm>
            <a:off x="3284218" y="4140720"/>
            <a:ext cx="1220787" cy="578055"/>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19" name="Content Placeholder 15"/>
          <p:cNvSpPr>
            <a:spLocks noGrp="1"/>
          </p:cNvSpPr>
          <p:nvPr>
            <p:ph sz="quarter" idx="22" hasCustomPrompt="1"/>
          </p:nvPr>
        </p:nvSpPr>
        <p:spPr>
          <a:xfrm>
            <a:off x="4637933" y="4140720"/>
            <a:ext cx="1220787" cy="578055"/>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20" name="Content Placeholder 15"/>
          <p:cNvSpPr>
            <a:spLocks noGrp="1"/>
          </p:cNvSpPr>
          <p:nvPr>
            <p:ph sz="quarter" idx="23" hasCustomPrompt="1"/>
          </p:nvPr>
        </p:nvSpPr>
        <p:spPr>
          <a:xfrm>
            <a:off x="5991648" y="4140720"/>
            <a:ext cx="1220787" cy="578055"/>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21" name="Content Placeholder 15"/>
          <p:cNvSpPr>
            <a:spLocks noGrp="1"/>
          </p:cNvSpPr>
          <p:nvPr>
            <p:ph sz="quarter" idx="24" hasCustomPrompt="1"/>
          </p:nvPr>
        </p:nvSpPr>
        <p:spPr>
          <a:xfrm>
            <a:off x="7345364" y="4140720"/>
            <a:ext cx="1220787" cy="578055"/>
          </a:xfrm>
          <a:prstGeom prst="rect">
            <a:avLst/>
          </a:prstGeom>
        </p:spPr>
        <p:txBody>
          <a:bodyPr/>
          <a:lstStyle>
            <a:lvl1pPr marL="0" indent="0">
              <a:buNone/>
              <a:defRPr sz="1000"/>
            </a:lvl1pPr>
            <a:lvl2pPr marL="266700" indent="0">
              <a:buNone/>
              <a:defRPr/>
            </a:lvl2pPr>
            <a:lvl3pPr marL="539750" indent="0">
              <a:buNone/>
              <a:defRPr/>
            </a:lvl3pPr>
            <a:lvl4pPr marL="806450" indent="0">
              <a:buNone/>
              <a:defRPr/>
            </a:lvl4pPr>
            <a:lvl5pPr marL="1073150" indent="0">
              <a:buNone/>
              <a:defRPr/>
            </a:lvl5pPr>
          </a:lstStyle>
          <a:p>
            <a:pPr lvl="0"/>
            <a:r>
              <a:rPr lang="en-GB" noProof="0" dirty="0"/>
              <a:t>Logo</a:t>
            </a:r>
          </a:p>
        </p:txBody>
      </p:sp>
      <p:sp>
        <p:nvSpPr>
          <p:cNvPr id="12" name="Content Placeholder 2">
            <a:extLst>
              <a:ext uri="{FF2B5EF4-FFF2-40B4-BE49-F238E27FC236}">
                <a16:creationId xmlns:a16="http://schemas.microsoft.com/office/drawing/2014/main" id="{CC0861C4-CB7A-4F48-B3D2-3CFC1E1C223D}"/>
              </a:ext>
            </a:extLst>
          </p:cNvPr>
          <p:cNvSpPr>
            <a:spLocks noGrp="1"/>
          </p:cNvSpPr>
          <p:nvPr>
            <p:ph idx="1"/>
          </p:nvPr>
        </p:nvSpPr>
        <p:spPr>
          <a:xfrm>
            <a:off x="792163" y="1030412"/>
            <a:ext cx="7773988" cy="298406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Title Placeholder 1">
            <a:extLst>
              <a:ext uri="{FF2B5EF4-FFF2-40B4-BE49-F238E27FC236}">
                <a16:creationId xmlns:a16="http://schemas.microsoft.com/office/drawing/2014/main" id="{2CEB6C87-BA5E-4EAA-A58A-9E43FA256027}"/>
              </a:ext>
            </a:extLst>
          </p:cNvPr>
          <p:cNvSpPr>
            <a:spLocks noGrp="1"/>
          </p:cNvSpPr>
          <p:nvPr>
            <p:ph type="title"/>
          </p:nvPr>
        </p:nvSpPr>
        <p:spPr>
          <a:xfrm>
            <a:off x="792163" y="333386"/>
            <a:ext cx="7773988" cy="461665"/>
          </a:xfrm>
          <a:prstGeom prst="rect">
            <a:avLst/>
          </a:prstGeom>
        </p:spPr>
        <p:txBody>
          <a:bodyPr vert="horz" wrap="square" lIns="91440" tIns="45720" rIns="91440" bIns="45720" rtlCol="0" anchor="ctr" anchorCtr="0">
            <a:spAutoFit/>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557309578"/>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11" name="Rectangle 10"/>
          <p:cNvSpPr/>
          <p:nvPr userDrawn="1"/>
        </p:nvSpPr>
        <p:spPr>
          <a:xfrm>
            <a:off x="1" y="1029600"/>
            <a:ext cx="8670924" cy="3368994"/>
          </a:xfrm>
          <a:custGeom>
            <a:avLst/>
            <a:gdLst/>
            <a:ahLst/>
            <a:cxnLst/>
            <a:rect l="l" t="t" r="r" b="b"/>
            <a:pathLst>
              <a:path w="8670924" h="3743327">
                <a:moveTo>
                  <a:pt x="893762" y="0"/>
                </a:moveTo>
                <a:lnTo>
                  <a:pt x="3027741" y="0"/>
                </a:lnTo>
                <a:lnTo>
                  <a:pt x="6945192" y="0"/>
                </a:lnTo>
                <a:lnTo>
                  <a:pt x="8670924" y="0"/>
                </a:lnTo>
                <a:lnTo>
                  <a:pt x="8670924" y="3335078"/>
                </a:lnTo>
                <a:cubicBezTo>
                  <a:pt x="8670924" y="3560547"/>
                  <a:pt x="8488146" y="3743325"/>
                  <a:pt x="8262677" y="3743325"/>
                </a:cubicBezTo>
                <a:lnTo>
                  <a:pt x="6945192" y="3743325"/>
                </a:lnTo>
                <a:lnTo>
                  <a:pt x="2955924" y="3743325"/>
                </a:lnTo>
                <a:lnTo>
                  <a:pt x="2955924" y="3743326"/>
                </a:lnTo>
                <a:lnTo>
                  <a:pt x="1008000" y="3743326"/>
                </a:lnTo>
                <a:lnTo>
                  <a:pt x="1008000" y="3743327"/>
                </a:lnTo>
                <a:lnTo>
                  <a:pt x="0" y="3743327"/>
                </a:lnTo>
                <a:lnTo>
                  <a:pt x="0" y="2"/>
                </a:lnTo>
                <a:lnTo>
                  <a:pt x="212725" y="2"/>
                </a:lnTo>
                <a:lnTo>
                  <a:pt x="212725" y="1"/>
                </a:lnTo>
                <a:lnTo>
                  <a:pt x="893762" y="1"/>
                </a:lnTo>
                <a:close/>
              </a:path>
            </a:pathLst>
          </a:custGeom>
          <a:solidFill>
            <a:schemeClr val="accent3"/>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prstClr val="white"/>
              </a:solidFill>
            </a:endParaRPr>
          </a:p>
        </p:txBody>
      </p:sp>
      <p:sp>
        <p:nvSpPr>
          <p:cNvPr id="2" name="Title 1"/>
          <p:cNvSpPr>
            <a:spLocks noGrp="1"/>
          </p:cNvSpPr>
          <p:nvPr>
            <p:ph type="title"/>
          </p:nvPr>
        </p:nvSpPr>
        <p:spPr>
          <a:xfrm>
            <a:off x="792163" y="334800"/>
            <a:ext cx="7878762" cy="461665"/>
          </a:xfrm>
          <a:prstGeom prst="rect">
            <a:avLst/>
          </a:prstGeom>
        </p:spPr>
        <p:txBody>
          <a:bodyPr/>
          <a:lstStyle>
            <a:lvl1pPr>
              <a:defRPr/>
            </a:lvl1pPr>
          </a:lstStyle>
          <a:p>
            <a:r>
              <a:rPr lang="en-US" noProof="0"/>
              <a:t>Click to edit Master title style</a:t>
            </a:r>
            <a:endParaRPr lang="en-GB" noProof="0" dirty="0"/>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10" name="Chart Placeholder 9"/>
          <p:cNvSpPr>
            <a:spLocks noGrp="1"/>
          </p:cNvSpPr>
          <p:nvPr>
            <p:ph type="chart" sz="quarter" idx="13"/>
          </p:nvPr>
        </p:nvSpPr>
        <p:spPr>
          <a:xfrm>
            <a:off x="792162" y="1212456"/>
            <a:ext cx="7666037" cy="3003282"/>
          </a:xfrm>
          <a:prstGeom prst="rect">
            <a:avLst/>
          </a:prstGeom>
        </p:spPr>
        <p:txBody>
          <a:bodyPr/>
          <a:lstStyle>
            <a:lvl1pPr marL="0" indent="0">
              <a:buNone/>
              <a:defRPr sz="1200"/>
            </a:lvl1pPr>
          </a:lstStyle>
          <a:p>
            <a:r>
              <a:rPr lang="en-US" noProof="0"/>
              <a:t>Click icon to add chart</a:t>
            </a:r>
            <a:endParaRPr lang="en-GB" noProof="0" dirty="0"/>
          </a:p>
        </p:txBody>
      </p:sp>
    </p:spTree>
    <p:extLst>
      <p:ext uri="{BB962C8B-B14F-4D97-AF65-F5344CB8AC3E}">
        <p14:creationId xmlns:p14="http://schemas.microsoft.com/office/powerpoint/2010/main" val="83541903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11" name="Rectangle 10"/>
          <p:cNvSpPr/>
          <p:nvPr userDrawn="1"/>
        </p:nvSpPr>
        <p:spPr>
          <a:xfrm>
            <a:off x="1" y="1029600"/>
            <a:ext cx="8670924" cy="3368994"/>
          </a:xfrm>
          <a:custGeom>
            <a:avLst/>
            <a:gdLst/>
            <a:ahLst/>
            <a:cxnLst/>
            <a:rect l="l" t="t" r="r" b="b"/>
            <a:pathLst>
              <a:path w="8670924" h="3743327">
                <a:moveTo>
                  <a:pt x="893762" y="0"/>
                </a:moveTo>
                <a:lnTo>
                  <a:pt x="3027741" y="0"/>
                </a:lnTo>
                <a:lnTo>
                  <a:pt x="6945192" y="0"/>
                </a:lnTo>
                <a:lnTo>
                  <a:pt x="8670924" y="0"/>
                </a:lnTo>
                <a:lnTo>
                  <a:pt x="8670924" y="3335078"/>
                </a:lnTo>
                <a:cubicBezTo>
                  <a:pt x="8670924" y="3560547"/>
                  <a:pt x="8488146" y="3743325"/>
                  <a:pt x="8262677" y="3743325"/>
                </a:cubicBezTo>
                <a:lnTo>
                  <a:pt x="6945192" y="3743325"/>
                </a:lnTo>
                <a:lnTo>
                  <a:pt x="2955924" y="3743325"/>
                </a:lnTo>
                <a:lnTo>
                  <a:pt x="2955924" y="3743326"/>
                </a:lnTo>
                <a:lnTo>
                  <a:pt x="1008000" y="3743326"/>
                </a:lnTo>
                <a:lnTo>
                  <a:pt x="1008000" y="3743327"/>
                </a:lnTo>
                <a:lnTo>
                  <a:pt x="0" y="3743327"/>
                </a:lnTo>
                <a:lnTo>
                  <a:pt x="0" y="2"/>
                </a:lnTo>
                <a:lnTo>
                  <a:pt x="212725" y="2"/>
                </a:lnTo>
                <a:lnTo>
                  <a:pt x="212725" y="1"/>
                </a:lnTo>
                <a:lnTo>
                  <a:pt x="893762" y="1"/>
                </a:lnTo>
                <a:close/>
              </a:path>
            </a:pathLst>
          </a:custGeom>
          <a:solidFill>
            <a:schemeClr val="accent3"/>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prstClr val="white"/>
              </a:solidFill>
            </a:endParaRPr>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10" name="Chart Placeholder 9"/>
          <p:cNvSpPr>
            <a:spLocks noGrp="1"/>
          </p:cNvSpPr>
          <p:nvPr>
            <p:ph type="chart" sz="quarter" idx="13"/>
          </p:nvPr>
        </p:nvSpPr>
        <p:spPr>
          <a:xfrm>
            <a:off x="792162" y="1215345"/>
            <a:ext cx="3538453" cy="3003282"/>
          </a:xfrm>
          <a:prstGeom prst="rect">
            <a:avLst/>
          </a:prstGeom>
        </p:spPr>
        <p:txBody>
          <a:bodyPr/>
          <a:lstStyle>
            <a:lvl1pPr marL="0" indent="0">
              <a:buNone/>
              <a:defRPr sz="1200"/>
            </a:lvl1pPr>
          </a:lstStyle>
          <a:p>
            <a:r>
              <a:rPr lang="en-US" noProof="0"/>
              <a:t>Click icon to add chart</a:t>
            </a:r>
            <a:endParaRPr lang="en-GB" noProof="0" dirty="0"/>
          </a:p>
        </p:txBody>
      </p:sp>
      <p:sp>
        <p:nvSpPr>
          <p:cNvPr id="7" name="Chart Placeholder 9"/>
          <p:cNvSpPr>
            <a:spLocks noGrp="1"/>
          </p:cNvSpPr>
          <p:nvPr>
            <p:ph type="chart" sz="quarter" idx="14"/>
          </p:nvPr>
        </p:nvSpPr>
        <p:spPr>
          <a:xfrm>
            <a:off x="4813385" y="1215345"/>
            <a:ext cx="3445245" cy="3003282"/>
          </a:xfrm>
          <a:prstGeom prst="rect">
            <a:avLst/>
          </a:prstGeom>
        </p:spPr>
        <p:txBody>
          <a:bodyPr/>
          <a:lstStyle>
            <a:lvl1pPr marL="0" indent="0">
              <a:buNone/>
              <a:defRPr sz="1200"/>
            </a:lvl1pPr>
          </a:lstStyle>
          <a:p>
            <a:r>
              <a:rPr lang="en-US" noProof="0"/>
              <a:t>Click icon to add chart</a:t>
            </a:r>
            <a:endParaRPr lang="en-GB" noProof="0" dirty="0"/>
          </a:p>
        </p:txBody>
      </p:sp>
      <p:sp>
        <p:nvSpPr>
          <p:cNvPr id="8" name="Title 1">
            <a:extLst>
              <a:ext uri="{FF2B5EF4-FFF2-40B4-BE49-F238E27FC236}">
                <a16:creationId xmlns:a16="http://schemas.microsoft.com/office/drawing/2014/main" id="{DD869941-DC4B-4444-95C9-FE78C84DBAB1}"/>
              </a:ext>
            </a:extLst>
          </p:cNvPr>
          <p:cNvSpPr>
            <a:spLocks noGrp="1"/>
          </p:cNvSpPr>
          <p:nvPr>
            <p:ph type="title"/>
          </p:nvPr>
        </p:nvSpPr>
        <p:spPr>
          <a:xfrm>
            <a:off x="792163" y="334800"/>
            <a:ext cx="7878762" cy="461665"/>
          </a:xfrm>
          <a:prstGeom prst="rect">
            <a:avLst/>
          </a:prstGeo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83921225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bwMode="gray">
          <a:xfrm>
            <a:off x="1" y="1029600"/>
            <a:ext cx="9143999" cy="3368993"/>
          </a:xfrm>
          <a:prstGeom prst="rect">
            <a:avLst/>
          </a:prstGeom>
          <a:solidFill>
            <a:schemeClr val="accent3"/>
          </a:solidFill>
          <a:ln w="9525">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000" dirty="0">
              <a:solidFill>
                <a:schemeClr val="accent4"/>
              </a:solidFill>
            </a:endParaRPr>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8" name="Title 1">
            <a:extLst>
              <a:ext uri="{FF2B5EF4-FFF2-40B4-BE49-F238E27FC236}">
                <a16:creationId xmlns:a16="http://schemas.microsoft.com/office/drawing/2014/main" id="{07669EBC-8D30-4C20-A192-A90608BD734A}"/>
              </a:ext>
            </a:extLst>
          </p:cNvPr>
          <p:cNvSpPr>
            <a:spLocks noGrp="1"/>
          </p:cNvSpPr>
          <p:nvPr>
            <p:ph type="title"/>
          </p:nvPr>
        </p:nvSpPr>
        <p:spPr>
          <a:xfrm>
            <a:off x="792163" y="334800"/>
            <a:ext cx="7878762" cy="461665"/>
          </a:xfrm>
          <a:prstGeom prst="rect">
            <a:avLst/>
          </a:prstGeo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408087252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orange">
    <p:spTree>
      <p:nvGrpSpPr>
        <p:cNvPr id="1" name=""/>
        <p:cNvGrpSpPr/>
        <p:nvPr/>
      </p:nvGrpSpPr>
      <p:grpSpPr>
        <a:xfrm>
          <a:off x="0" y="0"/>
          <a:ext cx="0" cy="0"/>
          <a:chOff x="0" y="0"/>
          <a:chExt cx="0" cy="0"/>
        </a:xfrm>
      </p:grpSpPr>
      <p:sp>
        <p:nvSpPr>
          <p:cNvPr id="7" name="Rectangle 6"/>
          <p:cNvSpPr/>
          <p:nvPr userDrawn="1"/>
        </p:nvSpPr>
        <p:spPr bwMode="gray">
          <a:xfrm>
            <a:off x="1" y="1029600"/>
            <a:ext cx="9143999" cy="3368993"/>
          </a:xfrm>
          <a:prstGeom prst="rect">
            <a:avLst/>
          </a:prstGeom>
          <a:solidFill>
            <a:schemeClr val="accent6"/>
          </a:solidFill>
          <a:ln w="9525">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000" dirty="0">
              <a:solidFill>
                <a:schemeClr val="accent4"/>
              </a:solidFill>
            </a:endParaRPr>
          </a:p>
        </p:txBody>
      </p:sp>
      <p:sp>
        <p:nvSpPr>
          <p:cNvPr id="5" name="Footer Placeholder 4"/>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12"/>
          </p:nvPr>
        </p:nvSpPr>
        <p:spPr/>
        <p:txBody>
          <a:bodyPr/>
          <a:lstStyle/>
          <a:p>
            <a:fld id="{015EBE98-414E-493A-9124-68D86CEA4F8A}" type="slidenum">
              <a:rPr lang="nl-NL" smtClean="0">
                <a:solidFill>
                  <a:srgbClr val="004D7D"/>
                </a:solidFill>
              </a:rPr>
              <a:pPr/>
              <a:t>‹#›</a:t>
            </a:fld>
            <a:endParaRPr lang="nl-NL" dirty="0">
              <a:solidFill>
                <a:srgbClr val="004D7D"/>
              </a:solidFill>
            </a:endParaRPr>
          </a:p>
        </p:txBody>
      </p:sp>
      <p:sp>
        <p:nvSpPr>
          <p:cNvPr id="8" name="Title 1">
            <a:extLst>
              <a:ext uri="{FF2B5EF4-FFF2-40B4-BE49-F238E27FC236}">
                <a16:creationId xmlns:a16="http://schemas.microsoft.com/office/drawing/2014/main" id="{42C5313B-040F-4FDA-960E-E459BFDD5E81}"/>
              </a:ext>
            </a:extLst>
          </p:cNvPr>
          <p:cNvSpPr>
            <a:spLocks noGrp="1"/>
          </p:cNvSpPr>
          <p:nvPr>
            <p:ph type="title"/>
          </p:nvPr>
        </p:nvSpPr>
        <p:spPr>
          <a:xfrm>
            <a:off x="792163" y="334800"/>
            <a:ext cx="7878762" cy="461665"/>
          </a:xfrm>
          <a:prstGeom prst="rect">
            <a:avLst/>
          </a:prstGeo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563534785"/>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2"/>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46528" y="128267"/>
            <a:ext cx="473383" cy="61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792163" y="334800"/>
            <a:ext cx="7773988" cy="461665"/>
          </a:xfrm>
          <a:prstGeom prst="rect">
            <a:avLst/>
          </a:prstGeom>
        </p:spPr>
        <p:txBody>
          <a:bodyPr vert="horz" wrap="square" lIns="91440" tIns="45720" rIns="91440" bIns="45720" rtlCol="0" anchor="ctr" anchorCtr="0">
            <a:spAutoFit/>
          </a:bodyPr>
          <a:lstStyle/>
          <a:p>
            <a:r>
              <a:rPr lang="en-US" noProof="0"/>
              <a:t>Click to edit Master title style</a:t>
            </a:r>
            <a:endParaRPr lang="en-GB" noProof="0" dirty="0"/>
          </a:p>
        </p:txBody>
      </p:sp>
      <p:sp>
        <p:nvSpPr>
          <p:cNvPr id="3" name="Text Placeholder 2"/>
          <p:cNvSpPr>
            <a:spLocks noGrp="1"/>
          </p:cNvSpPr>
          <p:nvPr>
            <p:ph type="body" idx="1"/>
          </p:nvPr>
        </p:nvSpPr>
        <p:spPr>
          <a:xfrm>
            <a:off x="792165" y="1029600"/>
            <a:ext cx="7773986" cy="3753839"/>
          </a:xfrm>
          <a:prstGeom prst="rect">
            <a:avLst/>
          </a:prstGeom>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3"/>
          </p:nvPr>
        </p:nvSpPr>
        <p:spPr>
          <a:xfrm>
            <a:off x="4024800" y="4845024"/>
            <a:ext cx="4421400" cy="273844"/>
          </a:xfrm>
          <a:prstGeom prst="rect">
            <a:avLst/>
          </a:prstGeom>
        </p:spPr>
        <p:txBody>
          <a:bodyPr vert="horz" lIns="91440" tIns="45720" rIns="91440" bIns="45720" rtlCol="0" anchor="ctr"/>
          <a:lstStyle>
            <a:lvl1pPr algn="r">
              <a:defRPr sz="800">
                <a:solidFill>
                  <a:schemeClr val="tx2"/>
                </a:solidFill>
              </a:defRPr>
            </a:lvl1p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6" name="Slide Number Placeholder 5"/>
          <p:cNvSpPr>
            <a:spLocks noGrp="1"/>
          </p:cNvSpPr>
          <p:nvPr>
            <p:ph type="sldNum" sz="quarter" idx="4"/>
          </p:nvPr>
        </p:nvSpPr>
        <p:spPr>
          <a:xfrm>
            <a:off x="8452800" y="4845024"/>
            <a:ext cx="417600" cy="273844"/>
          </a:xfrm>
          <a:prstGeom prst="rect">
            <a:avLst/>
          </a:prstGeom>
        </p:spPr>
        <p:txBody>
          <a:bodyPr vert="horz" lIns="91440" tIns="45720" rIns="91440" bIns="45720" rtlCol="0" anchor="ctr"/>
          <a:lstStyle>
            <a:lvl1pPr algn="l">
              <a:defRPr sz="800">
                <a:solidFill>
                  <a:schemeClr val="tx2"/>
                </a:solidFill>
              </a:defRPr>
            </a:lvl1pPr>
          </a:lstStyle>
          <a:p>
            <a:fld id="{015EBE98-414E-493A-9124-68D86CEA4F8A}" type="slidenum">
              <a:rPr lang="nl-NL" smtClean="0">
                <a:solidFill>
                  <a:srgbClr val="004D7D"/>
                </a:solidFill>
              </a:rPr>
              <a:pPr/>
              <a:t>‹#›</a:t>
            </a:fld>
            <a:endParaRPr lang="nl-NL" dirty="0">
              <a:solidFill>
                <a:srgbClr val="004D7D"/>
              </a:solidFill>
            </a:endParaRPr>
          </a:p>
        </p:txBody>
      </p:sp>
      <p:cxnSp>
        <p:nvCxnSpPr>
          <p:cNvPr id="7" name="Straight Connector 6"/>
          <p:cNvCxnSpPr/>
          <p:nvPr/>
        </p:nvCxnSpPr>
        <p:spPr>
          <a:xfrm>
            <a:off x="8450017" y="4911786"/>
            <a:ext cx="0" cy="231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772643"/>
      </p:ext>
    </p:extLst>
  </p:cSld>
  <p:clrMap bg1="lt1" tx1="dk1" bg2="lt2" tx2="dk2" accent1="accent1" accent2="accent2" accent3="accent3" accent4="accent4" accent5="accent5" accent6="accent6" hlink="hlink" folHlink="folHlink"/>
  <p:sldLayoutIdLst>
    <p:sldLayoutId id="2147483907" r:id="rId1"/>
    <p:sldLayoutId id="2147483923" r:id="rId2"/>
    <p:sldLayoutId id="2147483859" r:id="rId3"/>
    <p:sldLayoutId id="2147483860" r:id="rId4"/>
    <p:sldLayoutId id="2147483715" r:id="rId5"/>
    <p:sldLayoutId id="2147483710" r:id="rId6"/>
    <p:sldLayoutId id="2147483858" r:id="rId7"/>
    <p:sldLayoutId id="2147483851" r:id="rId8"/>
    <p:sldLayoutId id="2147483850" r:id="rId9"/>
    <p:sldLayoutId id="2147483692" r:id="rId10"/>
    <p:sldLayoutId id="2147483725" r:id="rId11"/>
    <p:sldLayoutId id="2147483716" r:id="rId12"/>
    <p:sldLayoutId id="2147483724" r:id="rId13"/>
    <p:sldLayoutId id="2147483910" r:id="rId14"/>
    <p:sldLayoutId id="2147483914" r:id="rId15"/>
    <p:sldLayoutId id="2147483693" r:id="rId16"/>
    <p:sldLayoutId id="2147483694" r:id="rId17"/>
    <p:sldLayoutId id="2147483853" r:id="rId18"/>
    <p:sldLayoutId id="2147483711" r:id="rId19"/>
    <p:sldLayoutId id="2147483701" r:id="rId20"/>
    <p:sldLayoutId id="2147483719" r:id="rId21"/>
    <p:sldLayoutId id="2147483697" r:id="rId22"/>
    <p:sldLayoutId id="2147483717" r:id="rId23"/>
    <p:sldLayoutId id="2147483852" r:id="rId24"/>
    <p:sldLayoutId id="2147483708" r:id="rId25"/>
    <p:sldLayoutId id="2147483718" r:id="rId26"/>
    <p:sldLayoutId id="2147483726" r:id="rId27"/>
    <p:sldLayoutId id="2147483854" r:id="rId28"/>
    <p:sldLayoutId id="2147483921" r:id="rId29"/>
    <p:sldLayoutId id="2147483925" r:id="rId30"/>
    <p:sldLayoutId id="2147483928" r:id="rId31"/>
    <p:sldLayoutId id="2147483929" r:id="rId32"/>
    <p:sldLayoutId id="2147483930" r:id="rId33"/>
  </p:sldLayoutIdLst>
  <p:transition spd="slow">
    <p:push dir="u"/>
  </p:transition>
  <p:hf sldNum="0" hdr="0" dt="0"/>
  <p:txStyles>
    <p:titleStyle>
      <a:lvl1pPr algn="l" defTabSz="914400" rtl="0" eaLnBrk="1" latinLnBrk="0" hangingPunct="1">
        <a:spcBef>
          <a:spcPct val="0"/>
        </a:spcBef>
        <a:buNone/>
        <a:defRPr sz="2400" b="0" kern="1200">
          <a:solidFill>
            <a:schemeClr val="tx2"/>
          </a:solidFill>
          <a:latin typeface="+mj-lt"/>
          <a:ea typeface="+mj-ea"/>
          <a:cs typeface="+mj-cs"/>
        </a:defRPr>
      </a:lvl1pPr>
    </p:titleStyle>
    <p:bodyStyle>
      <a:lvl1pPr marL="26670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1pPr>
      <a:lvl2pPr marL="53975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2pPr>
      <a:lvl3pPr marL="8064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3pPr>
      <a:lvl4pPr marL="10731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4pPr>
      <a:lvl5pPr marL="134620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5" userDrawn="1">
          <p15:clr>
            <a:srgbClr val="F26B43"/>
          </p15:clr>
        </p15:guide>
        <p15:guide id="2" pos="49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36.png"/><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9.jpeg"/></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53.png"/><Relationship Id="rId11" Type="http://schemas.openxmlformats.org/officeDocument/2006/relationships/image" Target="../media/image58.jpe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jpeg"/><Relationship Id="rId7" Type="http://schemas.openxmlformats.org/officeDocument/2006/relationships/image" Target="../media/image65.jpeg"/><Relationship Id="rId12"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jpe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5.gif"/><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image" Target="../media/image85.png"/></Relationships>
</file>

<file path=ppt/slides/_rels/slide39.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89.png"/><Relationship Id="rId7" Type="http://schemas.openxmlformats.org/officeDocument/2006/relationships/image" Target="../media/image92.jpe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91.png"/><Relationship Id="rId5" Type="http://schemas.openxmlformats.org/officeDocument/2006/relationships/image" Target="../media/image90.png"/><Relationship Id="rId4" Type="http://schemas.microsoft.com/office/2007/relationships/hdphoto" Target="../media/hdphoto5.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a:t>Alwin van Drongelen | VG </a:t>
            </a:r>
            <a:r>
              <a:rPr lang="en-GB" dirty="0" err="1"/>
              <a:t>dagen</a:t>
            </a:r>
            <a:r>
              <a:rPr lang="en-GB" dirty="0"/>
              <a:t> | 07-11-2025</a:t>
            </a:r>
          </a:p>
        </p:txBody>
      </p:sp>
      <p:sp>
        <p:nvSpPr>
          <p:cNvPr id="6" name="Text Placeholder 5"/>
          <p:cNvSpPr>
            <a:spLocks noGrp="1"/>
          </p:cNvSpPr>
          <p:nvPr>
            <p:ph type="body" sz="quarter" idx="10"/>
          </p:nvPr>
        </p:nvSpPr>
        <p:spPr/>
        <p:txBody>
          <a:bodyPr/>
          <a:lstStyle/>
          <a:p>
            <a:r>
              <a:rPr lang="nl-NL" dirty="0"/>
              <a:t>Onregelmatig Werk en Gezondheid</a:t>
            </a:r>
          </a:p>
          <a:p>
            <a:r>
              <a:rPr lang="nl-NL" dirty="0"/>
              <a:t>“Lessen” uit de Luchtvaartsector</a:t>
            </a:r>
            <a:endParaRPr lang="en-US" dirty="0"/>
          </a:p>
        </p:txBody>
      </p:sp>
    </p:spTree>
    <p:extLst>
      <p:ext uri="{BB962C8B-B14F-4D97-AF65-F5344CB8AC3E}">
        <p14:creationId xmlns:p14="http://schemas.microsoft.com/office/powerpoint/2010/main" val="45153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23F62D5-9CC5-4FCE-AD7E-D06DEFB19886}"/>
              </a:ext>
            </a:extLst>
          </p:cNvPr>
          <p:cNvSpPr>
            <a:spLocks noGrp="1"/>
          </p:cNvSpPr>
          <p:nvPr>
            <p:ph type="ftr" sz="quarter" idx="11"/>
          </p:nvPr>
        </p:nvSpPr>
        <p:spPr/>
        <p:txBody>
          <a:bodyPr/>
          <a:lstStyle/>
          <a:p>
            <a:r>
              <a:rPr lang="nl-NL"/>
              <a:t>Onregelmatig Werk en Gezondheid: "Lessen" uit de Luchtvaartsector</a:t>
            </a:r>
            <a:endParaRPr lang="nl-NL" dirty="0"/>
          </a:p>
        </p:txBody>
      </p:sp>
      <p:sp>
        <p:nvSpPr>
          <p:cNvPr id="2" name="Title 1">
            <a:extLst>
              <a:ext uri="{FF2B5EF4-FFF2-40B4-BE49-F238E27FC236}">
                <a16:creationId xmlns:a16="http://schemas.microsoft.com/office/drawing/2014/main" id="{7E637D67-9473-4579-AE4B-A34149D294D1}"/>
              </a:ext>
            </a:extLst>
          </p:cNvPr>
          <p:cNvSpPr>
            <a:spLocks noGrp="1"/>
          </p:cNvSpPr>
          <p:nvPr>
            <p:ph type="title"/>
          </p:nvPr>
        </p:nvSpPr>
        <p:spPr/>
        <p:txBody>
          <a:bodyPr/>
          <a:lstStyle/>
          <a:p>
            <a:r>
              <a:rPr lang="nl-NL" dirty="0"/>
              <a:t>Gezondheidseffecten</a:t>
            </a:r>
          </a:p>
        </p:txBody>
      </p:sp>
      <p:grpSp>
        <p:nvGrpSpPr>
          <p:cNvPr id="9" name="Group 8">
            <a:extLst>
              <a:ext uri="{FF2B5EF4-FFF2-40B4-BE49-F238E27FC236}">
                <a16:creationId xmlns:a16="http://schemas.microsoft.com/office/drawing/2014/main" id="{A590336B-717A-4FFC-8B88-3AE797AAB697}"/>
              </a:ext>
            </a:extLst>
          </p:cNvPr>
          <p:cNvGrpSpPr/>
          <p:nvPr/>
        </p:nvGrpSpPr>
        <p:grpSpPr>
          <a:xfrm>
            <a:off x="577849" y="1372900"/>
            <a:ext cx="3904504" cy="3075645"/>
            <a:chOff x="1509695" y="1235357"/>
            <a:chExt cx="5612547" cy="3824661"/>
          </a:xfrm>
        </p:grpSpPr>
        <p:pic>
          <p:nvPicPr>
            <p:cNvPr id="6" name="Picture 2">
              <a:extLst>
                <a:ext uri="{FF2B5EF4-FFF2-40B4-BE49-F238E27FC236}">
                  <a16:creationId xmlns:a16="http://schemas.microsoft.com/office/drawing/2014/main" id="{0A8E38BE-04B7-4687-A6BF-92B0A28AF2FE}"/>
                </a:ext>
              </a:extLst>
            </p:cNvPr>
            <p:cNvPicPr>
              <a:picLocks noChangeAspect="1" noChangeArrowheads="1"/>
            </p:cNvPicPr>
            <p:nvPr/>
          </p:nvPicPr>
          <p:blipFill>
            <a:blip r:embed="rId3"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1509695" y="1235357"/>
              <a:ext cx="5576540" cy="3824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a:extLst>
                <a:ext uri="{FF2B5EF4-FFF2-40B4-BE49-F238E27FC236}">
                  <a16:creationId xmlns:a16="http://schemas.microsoft.com/office/drawing/2014/main" id="{C471ECFF-55B9-458D-B49A-8958C0103C94}"/>
                </a:ext>
              </a:extLst>
            </p:cNvPr>
            <p:cNvPicPr>
              <a:picLocks noChangeAspect="1" noChangeArrowheads="1"/>
            </p:cNvPicPr>
            <p:nvPr/>
          </p:nvPicPr>
          <p:blipFill>
            <a:blip r:embed="rId4"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5610031" y="4022156"/>
              <a:ext cx="1512211" cy="943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Picture 9">
            <a:extLst>
              <a:ext uri="{FF2B5EF4-FFF2-40B4-BE49-F238E27FC236}">
                <a16:creationId xmlns:a16="http://schemas.microsoft.com/office/drawing/2014/main" id="{517D496A-3B45-9095-A2EA-DB53E1DABDEC}"/>
              </a:ext>
            </a:extLst>
          </p:cNvPr>
          <p:cNvPicPr>
            <a:picLocks noChangeAspect="1"/>
          </p:cNvPicPr>
          <p:nvPr/>
        </p:nvPicPr>
        <p:blipFill>
          <a:blip r:embed="rId5"/>
          <a:stretch>
            <a:fillRect/>
          </a:stretch>
        </p:blipFill>
        <p:spPr>
          <a:xfrm>
            <a:off x="5008247" y="1355198"/>
            <a:ext cx="3902672" cy="3017833"/>
          </a:xfrm>
          <a:prstGeom prst="rect">
            <a:avLst/>
          </a:prstGeom>
        </p:spPr>
      </p:pic>
      <p:sp>
        <p:nvSpPr>
          <p:cNvPr id="13" name="Content Placeholder 12">
            <a:extLst>
              <a:ext uri="{FF2B5EF4-FFF2-40B4-BE49-F238E27FC236}">
                <a16:creationId xmlns:a16="http://schemas.microsoft.com/office/drawing/2014/main" id="{2DA1E7B1-4E72-A40B-5657-47AF429EC9BB}"/>
              </a:ext>
            </a:extLst>
          </p:cNvPr>
          <p:cNvSpPr>
            <a:spLocks noGrp="1"/>
          </p:cNvSpPr>
          <p:nvPr>
            <p:ph idx="1"/>
          </p:nvPr>
        </p:nvSpPr>
        <p:spPr>
          <a:xfrm>
            <a:off x="4912659" y="1030411"/>
            <a:ext cx="3653491" cy="3254465"/>
          </a:xfrm>
        </p:spPr>
        <p:txBody>
          <a:bodyPr/>
          <a:lstStyle/>
          <a:p>
            <a:pPr marL="0" indent="0">
              <a:buNone/>
            </a:pPr>
            <a:r>
              <a:rPr lang="en-GB" dirty="0" err="1"/>
              <a:t>Gezondheidsraad</a:t>
            </a:r>
            <a:r>
              <a:rPr lang="en-GB" dirty="0"/>
              <a:t> (2017)</a:t>
            </a:r>
            <a:endParaRPr lang="nl-NL" dirty="0"/>
          </a:p>
        </p:txBody>
      </p:sp>
    </p:spTree>
    <p:extLst>
      <p:ext uri="{BB962C8B-B14F-4D97-AF65-F5344CB8AC3E}">
        <p14:creationId xmlns:p14="http://schemas.microsoft.com/office/powerpoint/2010/main" val="230292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6E2BACF-F1B6-ADAC-8360-1B3AF18867DA}"/>
              </a:ext>
            </a:extLst>
          </p:cNvPr>
          <p:cNvGrpSpPr/>
          <p:nvPr/>
        </p:nvGrpSpPr>
        <p:grpSpPr>
          <a:xfrm>
            <a:off x="4631765" y="29880"/>
            <a:ext cx="4482453" cy="5118500"/>
            <a:chOff x="4709462" y="55922"/>
            <a:chExt cx="4404756" cy="5062578"/>
          </a:xfrm>
        </p:grpSpPr>
        <p:pic>
          <p:nvPicPr>
            <p:cNvPr id="2050" name="Picture 2">
              <a:extLst>
                <a:ext uri="{FF2B5EF4-FFF2-40B4-BE49-F238E27FC236}">
                  <a16:creationId xmlns:a16="http://schemas.microsoft.com/office/drawing/2014/main" id="{4F40711E-FA43-2516-E175-56FA9C21D0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09462" y="55922"/>
              <a:ext cx="4404756" cy="506257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8834994-3A66-332A-5E1D-0EBE3D5FA80F}"/>
                </a:ext>
              </a:extLst>
            </p:cNvPr>
            <p:cNvSpPr/>
            <p:nvPr/>
          </p:nvSpPr>
          <p:spPr>
            <a:xfrm>
              <a:off x="7458635" y="55922"/>
              <a:ext cx="1541930" cy="299805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Content Placeholder 2">
            <a:extLst>
              <a:ext uri="{FF2B5EF4-FFF2-40B4-BE49-F238E27FC236}">
                <a16:creationId xmlns:a16="http://schemas.microsoft.com/office/drawing/2014/main" id="{84217C88-1E56-A762-86DE-9588829C7954}"/>
              </a:ext>
            </a:extLst>
          </p:cNvPr>
          <p:cNvSpPr>
            <a:spLocks noGrp="1"/>
          </p:cNvSpPr>
          <p:nvPr>
            <p:ph idx="1"/>
          </p:nvPr>
        </p:nvSpPr>
        <p:spPr>
          <a:xfrm>
            <a:off x="792163" y="1030411"/>
            <a:ext cx="3779837" cy="3254465"/>
          </a:xfrm>
        </p:spPr>
        <p:txBody>
          <a:bodyPr/>
          <a:lstStyle/>
          <a:p>
            <a:r>
              <a:rPr lang="nl-NL" dirty="0" err="1"/>
              <a:t>Circadiane</a:t>
            </a:r>
            <a:r>
              <a:rPr lang="nl-NL" dirty="0"/>
              <a:t> systeem speelt een cruciale rol bij het reguleren van de hart- en stofwisselingsfunctie.</a:t>
            </a:r>
          </a:p>
          <a:p>
            <a:r>
              <a:rPr lang="nl-NL" dirty="0"/>
              <a:t>Verstoringen door onregelmatige slaap, ploegendiensten, verkeerd getimede maaltijden of blootstelling aan licht 's nachts</a:t>
            </a:r>
          </a:p>
          <a:p>
            <a:pPr>
              <a:buFont typeface="Wingdings" panose="05000000000000000000" pitchFamily="2" charset="2"/>
              <a:buChar char="Ø"/>
            </a:pPr>
            <a:r>
              <a:rPr lang="nl-NL" dirty="0"/>
              <a:t>Dragen bij aan obesitas, diabetes, hypertensie en hart- en vaatziekten.</a:t>
            </a:r>
          </a:p>
        </p:txBody>
      </p:sp>
      <p:sp>
        <p:nvSpPr>
          <p:cNvPr id="4" name="Title 3">
            <a:extLst>
              <a:ext uri="{FF2B5EF4-FFF2-40B4-BE49-F238E27FC236}">
                <a16:creationId xmlns:a16="http://schemas.microsoft.com/office/drawing/2014/main" id="{591668D9-0108-06EC-E738-5433943F8AC9}"/>
              </a:ext>
            </a:extLst>
          </p:cNvPr>
          <p:cNvSpPr>
            <a:spLocks noGrp="1"/>
          </p:cNvSpPr>
          <p:nvPr>
            <p:ph type="title"/>
          </p:nvPr>
        </p:nvSpPr>
        <p:spPr>
          <a:xfrm>
            <a:off x="792163" y="364163"/>
            <a:ext cx="7773988" cy="400110"/>
          </a:xfrm>
        </p:spPr>
        <p:txBody>
          <a:bodyPr/>
          <a:lstStyle/>
          <a:p>
            <a:r>
              <a:rPr lang="nl-NL" sz="2000" dirty="0"/>
              <a:t>American </a:t>
            </a:r>
            <a:r>
              <a:rPr lang="nl-NL" sz="2000" dirty="0" err="1"/>
              <a:t>Heart</a:t>
            </a:r>
            <a:r>
              <a:rPr lang="nl-NL" sz="2000" dirty="0"/>
              <a:t> Association (2025)</a:t>
            </a:r>
          </a:p>
        </p:txBody>
      </p:sp>
    </p:spTree>
    <p:extLst>
      <p:ext uri="{BB962C8B-B14F-4D97-AF65-F5344CB8AC3E}">
        <p14:creationId xmlns:p14="http://schemas.microsoft.com/office/powerpoint/2010/main" val="28097227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A426490-B846-DC44-6938-362CC708596B}"/>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3" name="Content Placeholder 2">
            <a:extLst>
              <a:ext uri="{FF2B5EF4-FFF2-40B4-BE49-F238E27FC236}">
                <a16:creationId xmlns:a16="http://schemas.microsoft.com/office/drawing/2014/main" id="{EA5F6943-690D-F292-011F-FBE91D9E7986}"/>
              </a:ext>
            </a:extLst>
          </p:cNvPr>
          <p:cNvSpPr>
            <a:spLocks noGrp="1"/>
          </p:cNvSpPr>
          <p:nvPr>
            <p:ph idx="1"/>
          </p:nvPr>
        </p:nvSpPr>
        <p:spPr/>
        <p:txBody>
          <a:bodyPr/>
          <a:lstStyle/>
          <a:p>
            <a:endParaRPr lang="nl-NL"/>
          </a:p>
        </p:txBody>
      </p:sp>
      <p:sp>
        <p:nvSpPr>
          <p:cNvPr id="4" name="Title 3">
            <a:extLst>
              <a:ext uri="{FF2B5EF4-FFF2-40B4-BE49-F238E27FC236}">
                <a16:creationId xmlns:a16="http://schemas.microsoft.com/office/drawing/2014/main" id="{60024377-4D5B-DEE9-BD05-C00E3395B2BE}"/>
              </a:ext>
            </a:extLst>
          </p:cNvPr>
          <p:cNvSpPr>
            <a:spLocks noGrp="1"/>
          </p:cNvSpPr>
          <p:nvPr>
            <p:ph type="title"/>
          </p:nvPr>
        </p:nvSpPr>
        <p:spPr/>
        <p:txBody>
          <a:bodyPr/>
          <a:lstStyle/>
          <a:p>
            <a:r>
              <a:rPr lang="en-GB" dirty="0" err="1"/>
              <a:t>Oorzaken</a:t>
            </a:r>
            <a:r>
              <a:rPr lang="en-GB" dirty="0"/>
              <a:t> </a:t>
            </a:r>
            <a:r>
              <a:rPr lang="en-GB" dirty="0" err="1"/>
              <a:t>slaap</a:t>
            </a:r>
            <a:r>
              <a:rPr lang="en-GB" dirty="0"/>
              <a:t> &amp; </a:t>
            </a:r>
            <a:r>
              <a:rPr lang="en-GB" dirty="0" err="1"/>
              <a:t>bioritme</a:t>
            </a:r>
            <a:endParaRPr lang="nl-NL" dirty="0"/>
          </a:p>
        </p:txBody>
      </p:sp>
      <p:pic>
        <p:nvPicPr>
          <p:cNvPr id="6" name="Picture 5">
            <a:extLst>
              <a:ext uri="{FF2B5EF4-FFF2-40B4-BE49-F238E27FC236}">
                <a16:creationId xmlns:a16="http://schemas.microsoft.com/office/drawing/2014/main" id="{E1DF7356-8F9E-E2A8-D279-62C07D5DDAF3}"/>
              </a:ext>
            </a:extLst>
          </p:cNvPr>
          <p:cNvPicPr>
            <a:picLocks noChangeAspect="1"/>
          </p:cNvPicPr>
          <p:nvPr/>
        </p:nvPicPr>
        <p:blipFill>
          <a:blip r:embed="rId3"/>
          <a:srcRect t="7079"/>
          <a:stretch/>
        </p:blipFill>
        <p:spPr>
          <a:xfrm>
            <a:off x="792163" y="1030411"/>
            <a:ext cx="6143508" cy="3380226"/>
          </a:xfrm>
          <a:prstGeom prst="rect">
            <a:avLst/>
          </a:prstGeom>
        </p:spPr>
      </p:pic>
      <p:grpSp>
        <p:nvGrpSpPr>
          <p:cNvPr id="12" name="Group 11">
            <a:extLst>
              <a:ext uri="{FF2B5EF4-FFF2-40B4-BE49-F238E27FC236}">
                <a16:creationId xmlns:a16="http://schemas.microsoft.com/office/drawing/2014/main" id="{A7337287-8FF8-FC07-EAA1-9ACC845B8175}"/>
              </a:ext>
            </a:extLst>
          </p:cNvPr>
          <p:cNvGrpSpPr/>
          <p:nvPr/>
        </p:nvGrpSpPr>
        <p:grpSpPr>
          <a:xfrm>
            <a:off x="6042212" y="470264"/>
            <a:ext cx="3074884" cy="1516978"/>
            <a:chOff x="6235500" y="564218"/>
            <a:chExt cx="2881596" cy="1423023"/>
          </a:xfrm>
        </p:grpSpPr>
        <p:pic>
          <p:nvPicPr>
            <p:cNvPr id="10" name="Picture 9">
              <a:extLst>
                <a:ext uri="{FF2B5EF4-FFF2-40B4-BE49-F238E27FC236}">
                  <a16:creationId xmlns:a16="http://schemas.microsoft.com/office/drawing/2014/main" id="{181C083F-BA0A-A388-5C36-4048F198B60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rcRect t="31315"/>
            <a:stretch/>
          </p:blipFill>
          <p:spPr>
            <a:xfrm>
              <a:off x="6235500" y="564218"/>
              <a:ext cx="2881596" cy="1423023"/>
            </a:xfrm>
            <a:prstGeom prst="rect">
              <a:avLst/>
            </a:prstGeom>
          </p:spPr>
        </p:pic>
        <p:sp>
          <p:nvSpPr>
            <p:cNvPr id="11" name="Rectangle 10">
              <a:extLst>
                <a:ext uri="{FF2B5EF4-FFF2-40B4-BE49-F238E27FC236}">
                  <a16:creationId xmlns:a16="http://schemas.microsoft.com/office/drawing/2014/main" id="{A602CD7C-085F-245C-3547-A5686A800823}"/>
                </a:ext>
              </a:extLst>
            </p:cNvPr>
            <p:cNvSpPr/>
            <p:nvPr/>
          </p:nvSpPr>
          <p:spPr>
            <a:xfrm>
              <a:off x="8683812" y="1721224"/>
              <a:ext cx="346635" cy="266017"/>
            </a:xfrm>
            <a:prstGeom prst="rect">
              <a:avLst/>
            </a:prstGeom>
            <a:solidFill>
              <a:srgbClr val="FFFFFF"/>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Tree>
    <p:extLst>
      <p:ext uri="{BB962C8B-B14F-4D97-AF65-F5344CB8AC3E}">
        <p14:creationId xmlns:p14="http://schemas.microsoft.com/office/powerpoint/2010/main" val="4170661999"/>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A426490-B846-DC44-6938-362CC708596B}"/>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3" name="Content Placeholder 2">
            <a:extLst>
              <a:ext uri="{FF2B5EF4-FFF2-40B4-BE49-F238E27FC236}">
                <a16:creationId xmlns:a16="http://schemas.microsoft.com/office/drawing/2014/main" id="{EA5F6943-690D-F292-011F-FBE91D9E7986}"/>
              </a:ext>
            </a:extLst>
          </p:cNvPr>
          <p:cNvSpPr>
            <a:spLocks noGrp="1"/>
          </p:cNvSpPr>
          <p:nvPr>
            <p:ph idx="1"/>
          </p:nvPr>
        </p:nvSpPr>
        <p:spPr/>
        <p:txBody>
          <a:bodyPr/>
          <a:lstStyle/>
          <a:p>
            <a:endParaRPr lang="nl-NL" dirty="0"/>
          </a:p>
        </p:txBody>
      </p:sp>
      <p:sp>
        <p:nvSpPr>
          <p:cNvPr id="4" name="Title 3">
            <a:extLst>
              <a:ext uri="{FF2B5EF4-FFF2-40B4-BE49-F238E27FC236}">
                <a16:creationId xmlns:a16="http://schemas.microsoft.com/office/drawing/2014/main" id="{60024377-4D5B-DEE9-BD05-C00E3395B2BE}"/>
              </a:ext>
            </a:extLst>
          </p:cNvPr>
          <p:cNvSpPr>
            <a:spLocks noGrp="1"/>
          </p:cNvSpPr>
          <p:nvPr>
            <p:ph type="title"/>
          </p:nvPr>
        </p:nvSpPr>
        <p:spPr/>
        <p:txBody>
          <a:bodyPr/>
          <a:lstStyle/>
          <a:p>
            <a:r>
              <a:rPr lang="en-GB" dirty="0" err="1"/>
              <a:t>Oorzaken</a:t>
            </a:r>
            <a:r>
              <a:rPr lang="en-GB" dirty="0"/>
              <a:t> </a:t>
            </a:r>
            <a:r>
              <a:rPr lang="en-GB" dirty="0" err="1"/>
              <a:t>slaap</a:t>
            </a:r>
            <a:r>
              <a:rPr lang="en-GB" dirty="0"/>
              <a:t> &amp; </a:t>
            </a:r>
            <a:r>
              <a:rPr lang="en-GB" dirty="0" err="1"/>
              <a:t>bioritme</a:t>
            </a:r>
            <a:endParaRPr lang="nl-NL" dirty="0"/>
          </a:p>
        </p:txBody>
      </p:sp>
      <p:pic>
        <p:nvPicPr>
          <p:cNvPr id="8" name="Picture 7">
            <a:extLst>
              <a:ext uri="{FF2B5EF4-FFF2-40B4-BE49-F238E27FC236}">
                <a16:creationId xmlns:a16="http://schemas.microsoft.com/office/drawing/2014/main" id="{7737B3F8-1AE8-88CB-92F4-48B32E1F8600}"/>
              </a:ext>
            </a:extLst>
          </p:cNvPr>
          <p:cNvPicPr>
            <a:picLocks noChangeAspect="1"/>
          </p:cNvPicPr>
          <p:nvPr/>
        </p:nvPicPr>
        <p:blipFill>
          <a:blip r:embed="rId3"/>
          <a:srcRect l="3824"/>
          <a:stretch/>
        </p:blipFill>
        <p:spPr>
          <a:xfrm>
            <a:off x="792162" y="1030411"/>
            <a:ext cx="6373491" cy="3344365"/>
          </a:xfrm>
          <a:prstGeom prst="rect">
            <a:avLst/>
          </a:prstGeom>
        </p:spPr>
      </p:pic>
      <p:pic>
        <p:nvPicPr>
          <p:cNvPr id="9" name="Picture 2">
            <a:extLst>
              <a:ext uri="{FF2B5EF4-FFF2-40B4-BE49-F238E27FC236}">
                <a16:creationId xmlns:a16="http://schemas.microsoft.com/office/drawing/2014/main" id="{171B397B-3589-F9BE-3FFD-AB8A9DED21D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55407" y="1030411"/>
            <a:ext cx="2010744" cy="1042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191526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D1247B-2323-4953-AC3A-8042E4C93ED6}"/>
              </a:ext>
            </a:extLst>
          </p:cNvPr>
          <p:cNvPicPr>
            <a:picLocks noChangeAspect="1"/>
          </p:cNvPicPr>
          <p:nvPr/>
        </p:nvPicPr>
        <p:blipFill>
          <a:blip r:embed="rId3"/>
          <a:srcRect l="10148" r="9760"/>
          <a:stretch/>
        </p:blipFill>
        <p:spPr>
          <a:xfrm>
            <a:off x="884518" y="1159171"/>
            <a:ext cx="6831106" cy="3552847"/>
          </a:xfrm>
          <a:prstGeom prst="rect">
            <a:avLst/>
          </a:prstGeom>
        </p:spPr>
      </p:pic>
      <p:sp>
        <p:nvSpPr>
          <p:cNvPr id="2" name="Footer Placeholder 1">
            <a:extLst>
              <a:ext uri="{FF2B5EF4-FFF2-40B4-BE49-F238E27FC236}">
                <a16:creationId xmlns:a16="http://schemas.microsoft.com/office/drawing/2014/main" id="{98EA48D8-6D2A-4222-B9E8-2A26055FD710}"/>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en-GB" dirty="0">
              <a:solidFill>
                <a:srgbClr val="004D7D"/>
              </a:solidFill>
            </a:endParaRPr>
          </a:p>
        </p:txBody>
      </p:sp>
      <p:sp>
        <p:nvSpPr>
          <p:cNvPr id="5" name="Content Placeholder 4">
            <a:extLst>
              <a:ext uri="{FF2B5EF4-FFF2-40B4-BE49-F238E27FC236}">
                <a16:creationId xmlns:a16="http://schemas.microsoft.com/office/drawing/2014/main" id="{532ADE6A-E1DA-86E9-68DF-CF8614AA4E2B}"/>
              </a:ext>
            </a:extLst>
          </p:cNvPr>
          <p:cNvSpPr>
            <a:spLocks noGrp="1"/>
          </p:cNvSpPr>
          <p:nvPr>
            <p:ph idx="1"/>
          </p:nvPr>
        </p:nvSpPr>
        <p:spPr/>
        <p:txBody>
          <a:bodyPr/>
          <a:lstStyle/>
          <a:p>
            <a:endParaRPr lang="nl-NL" dirty="0"/>
          </a:p>
        </p:txBody>
      </p:sp>
      <p:sp>
        <p:nvSpPr>
          <p:cNvPr id="4" name="Title 3">
            <a:extLst>
              <a:ext uri="{FF2B5EF4-FFF2-40B4-BE49-F238E27FC236}">
                <a16:creationId xmlns:a16="http://schemas.microsoft.com/office/drawing/2014/main" id="{1C3DF8C8-1318-F88B-8EAF-83B7ECD7A20D}"/>
              </a:ext>
            </a:extLst>
          </p:cNvPr>
          <p:cNvSpPr>
            <a:spLocks noGrp="1"/>
          </p:cNvSpPr>
          <p:nvPr>
            <p:ph type="title"/>
          </p:nvPr>
        </p:nvSpPr>
        <p:spPr>
          <a:xfrm>
            <a:off x="792163" y="333386"/>
            <a:ext cx="7773988" cy="461665"/>
          </a:xfrm>
        </p:spPr>
        <p:txBody>
          <a:bodyPr/>
          <a:lstStyle/>
          <a:p>
            <a:r>
              <a:rPr lang="en-GB" dirty="0" err="1"/>
              <a:t>Gecombineerd</a:t>
            </a:r>
            <a:r>
              <a:rPr lang="en-GB" dirty="0"/>
              <a:t>: two process model of sleep</a:t>
            </a:r>
            <a:endParaRPr lang="nl-NL" dirty="0"/>
          </a:p>
        </p:txBody>
      </p:sp>
    </p:spTree>
    <p:extLst>
      <p:ext uri="{BB962C8B-B14F-4D97-AF65-F5344CB8AC3E}">
        <p14:creationId xmlns:p14="http://schemas.microsoft.com/office/powerpoint/2010/main" val="152829127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8EA48D8-6D2A-4222-B9E8-2A26055FD710}"/>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en-GB" dirty="0">
              <a:solidFill>
                <a:srgbClr val="004D7D"/>
              </a:solidFill>
            </a:endParaRPr>
          </a:p>
        </p:txBody>
      </p:sp>
      <p:sp>
        <p:nvSpPr>
          <p:cNvPr id="7" name="Title 1">
            <a:extLst>
              <a:ext uri="{FF2B5EF4-FFF2-40B4-BE49-F238E27FC236}">
                <a16:creationId xmlns:a16="http://schemas.microsoft.com/office/drawing/2014/main" id="{4711CBFF-A6F7-4D07-B085-431F64658ED4}"/>
              </a:ext>
            </a:extLst>
          </p:cNvPr>
          <p:cNvSpPr txBox="1">
            <a:spLocks/>
          </p:cNvSpPr>
          <p:nvPr/>
        </p:nvSpPr>
        <p:spPr>
          <a:xfrm>
            <a:off x="576788" y="564500"/>
            <a:ext cx="8094138" cy="461665"/>
          </a:xfrm>
          <a:prstGeom prst="rect">
            <a:avLst/>
          </a:prstGeom>
        </p:spPr>
        <p:txBody>
          <a:bodyPr vert="horz" lIns="91440" tIns="45720" rIns="91440" bIns="45720" rtlCol="0" anchor="t" anchorCtr="0">
            <a:spAutoFit/>
          </a:bodyPr>
          <a:lstStyle>
            <a:lvl1pPr algn="l" defTabSz="914400" rtl="0" eaLnBrk="1" latinLnBrk="0" hangingPunct="1">
              <a:spcBef>
                <a:spcPct val="0"/>
              </a:spcBef>
              <a:buNone/>
              <a:defRPr sz="2400" b="0" kern="1200">
                <a:solidFill>
                  <a:schemeClr val="tx2"/>
                </a:solidFill>
                <a:latin typeface="+mj-lt"/>
                <a:ea typeface="+mj-ea"/>
                <a:cs typeface="+mj-cs"/>
              </a:defRPr>
            </a:lvl1pPr>
          </a:lstStyle>
          <a:p>
            <a:r>
              <a:rPr lang="en-GB" dirty="0"/>
              <a:t>‘s </a:t>
            </a:r>
            <a:r>
              <a:rPr lang="en-GB" dirty="0" err="1"/>
              <a:t>nachts</a:t>
            </a:r>
            <a:r>
              <a:rPr lang="en-GB" dirty="0"/>
              <a:t> </a:t>
            </a:r>
            <a:r>
              <a:rPr lang="en-GB" dirty="0" err="1"/>
              <a:t>werken</a:t>
            </a:r>
            <a:endParaRPr lang="en-GB" dirty="0"/>
          </a:p>
        </p:txBody>
      </p:sp>
      <p:pic>
        <p:nvPicPr>
          <p:cNvPr id="1026" name="Picture 2">
            <a:extLst>
              <a:ext uri="{FF2B5EF4-FFF2-40B4-BE49-F238E27FC236}">
                <a16:creationId xmlns:a16="http://schemas.microsoft.com/office/drawing/2014/main" id="{F99E7FDF-8E4C-3125-439F-77D41A5342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8595"/>
          <a:stretch/>
        </p:blipFill>
        <p:spPr bwMode="auto">
          <a:xfrm>
            <a:off x="708724" y="1159524"/>
            <a:ext cx="6877894" cy="3419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763039"/>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35F09-CD3D-17F2-D9C9-E9E42D51E1FE}"/>
              </a:ext>
            </a:extLst>
          </p:cNvPr>
          <p:cNvSpPr>
            <a:spLocks noGrp="1"/>
          </p:cNvSpPr>
          <p:nvPr>
            <p:ph type="title"/>
          </p:nvPr>
        </p:nvSpPr>
        <p:spPr>
          <a:xfrm>
            <a:off x="681038" y="2132295"/>
            <a:ext cx="7777162" cy="954107"/>
          </a:xfrm>
        </p:spPr>
        <p:txBody>
          <a:bodyPr/>
          <a:lstStyle/>
          <a:p>
            <a:r>
              <a:rPr lang="en-GB" dirty="0"/>
              <a:t>2. Risicogroepen </a:t>
            </a:r>
            <a:r>
              <a:rPr lang="en-GB" dirty="0" err="1"/>
              <a:t>en</a:t>
            </a:r>
            <a:r>
              <a:rPr lang="en-GB" dirty="0"/>
              <a:t> </a:t>
            </a:r>
            <a:r>
              <a:rPr lang="en-GB" dirty="0" err="1"/>
              <a:t>mogelijkheden</a:t>
            </a:r>
            <a:r>
              <a:rPr lang="en-GB" dirty="0"/>
              <a:t> </a:t>
            </a:r>
            <a:r>
              <a:rPr lang="en-GB" dirty="0" err="1"/>
              <a:t>voor</a:t>
            </a:r>
            <a:r>
              <a:rPr lang="en-GB" dirty="0"/>
              <a:t> </a:t>
            </a:r>
            <a:r>
              <a:rPr lang="en-GB" dirty="0" err="1"/>
              <a:t>mitigatie</a:t>
            </a:r>
            <a:endParaRPr lang="nl-NL" dirty="0"/>
          </a:p>
        </p:txBody>
      </p:sp>
      <p:sp>
        <p:nvSpPr>
          <p:cNvPr id="4" name="Footer Placeholder 3">
            <a:extLst>
              <a:ext uri="{FF2B5EF4-FFF2-40B4-BE49-F238E27FC236}">
                <a16:creationId xmlns:a16="http://schemas.microsoft.com/office/drawing/2014/main" id="{C05134C3-2C81-1E73-8CCE-9BABC16FFD2E}"/>
              </a:ext>
            </a:extLst>
          </p:cNvPr>
          <p:cNvSpPr>
            <a:spLocks noGrp="1"/>
          </p:cNvSpPr>
          <p:nvPr>
            <p:ph type="ftr" sz="quarter" idx="11"/>
          </p:nvPr>
        </p:nvSpPr>
        <p:spPr/>
        <p:txBody>
          <a:bodyPr/>
          <a:lstStyle/>
          <a:p>
            <a:r>
              <a:rPr lang="nl-NL" noProof="0"/>
              <a:t>Onregelmatig Werk en Gezondheid: "Lessen" uit de Luchtvaartsector</a:t>
            </a:r>
            <a:endParaRPr lang="en-GB" noProof="0" dirty="0"/>
          </a:p>
        </p:txBody>
      </p:sp>
    </p:spTree>
    <p:extLst>
      <p:ext uri="{BB962C8B-B14F-4D97-AF65-F5344CB8AC3E}">
        <p14:creationId xmlns:p14="http://schemas.microsoft.com/office/powerpoint/2010/main" val="245990686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234DAAC-911D-41F1-55EE-B280C1C58F5C}"/>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3" name="Content Placeholder 2">
            <a:extLst>
              <a:ext uri="{FF2B5EF4-FFF2-40B4-BE49-F238E27FC236}">
                <a16:creationId xmlns:a16="http://schemas.microsoft.com/office/drawing/2014/main" id="{B7AACE29-943F-5173-1DBD-8AA2C20EFFCC}"/>
              </a:ext>
            </a:extLst>
          </p:cNvPr>
          <p:cNvSpPr>
            <a:spLocks noGrp="1"/>
          </p:cNvSpPr>
          <p:nvPr>
            <p:ph idx="1"/>
          </p:nvPr>
        </p:nvSpPr>
        <p:spPr/>
        <p:txBody>
          <a:bodyPr/>
          <a:lstStyle/>
          <a:p>
            <a:endParaRPr lang="nl-NL" dirty="0"/>
          </a:p>
          <a:p>
            <a:endParaRPr lang="nl-NL" dirty="0"/>
          </a:p>
          <a:p>
            <a:r>
              <a:rPr lang="nl-NL" dirty="0"/>
              <a:t>5 jaar werken in nachtdiensten; 3% </a:t>
            </a:r>
            <a:r>
              <a:rPr lang="nl-NL" b="1" dirty="0"/>
              <a:t>diabetes</a:t>
            </a:r>
            <a:r>
              <a:rPr lang="nl-NL" dirty="0"/>
              <a:t> bij nachtwerkers veroorzaakt door nachtwerk</a:t>
            </a:r>
          </a:p>
          <a:p>
            <a:r>
              <a:rPr lang="nl-NL" dirty="0"/>
              <a:t>Na 40 jaar werken in nachtdiensten; 21%</a:t>
            </a:r>
          </a:p>
          <a:p>
            <a:endParaRPr lang="nl-NL" dirty="0"/>
          </a:p>
          <a:p>
            <a:r>
              <a:rPr lang="nl-NL" dirty="0"/>
              <a:t>5 jaar werken in nachtdiensten; 4% </a:t>
            </a:r>
            <a:r>
              <a:rPr lang="nl-NL" b="1" dirty="0"/>
              <a:t>hart- en vaatziekten</a:t>
            </a:r>
            <a:r>
              <a:rPr lang="nl-NL" dirty="0"/>
              <a:t> bij nachtwerkers verklaard door nachtwerk</a:t>
            </a:r>
          </a:p>
          <a:p>
            <a:r>
              <a:rPr lang="nl-NL" dirty="0"/>
              <a:t>Na 40 jaar werken in nachtdiensten: 23%</a:t>
            </a:r>
          </a:p>
          <a:p>
            <a:pPr marL="0" indent="0">
              <a:buNone/>
            </a:pPr>
            <a:endParaRPr lang="nl-NL" dirty="0"/>
          </a:p>
          <a:p>
            <a:pPr marL="0" indent="0">
              <a:buNone/>
            </a:pPr>
            <a:r>
              <a:rPr lang="nl-NL" sz="1200" dirty="0">
                <a:solidFill>
                  <a:schemeClr val="tx1">
                    <a:lumMod val="95000"/>
                    <a:lumOff val="5000"/>
                  </a:schemeClr>
                </a:solidFill>
              </a:rPr>
              <a:t>(gezondheidsraad, 2017)</a:t>
            </a:r>
          </a:p>
        </p:txBody>
      </p:sp>
      <p:sp>
        <p:nvSpPr>
          <p:cNvPr id="4" name="Title 3">
            <a:extLst>
              <a:ext uri="{FF2B5EF4-FFF2-40B4-BE49-F238E27FC236}">
                <a16:creationId xmlns:a16="http://schemas.microsoft.com/office/drawing/2014/main" id="{604143A2-C1AB-E216-A780-E4523C483B06}"/>
              </a:ext>
            </a:extLst>
          </p:cNvPr>
          <p:cNvSpPr>
            <a:spLocks noGrp="1"/>
          </p:cNvSpPr>
          <p:nvPr>
            <p:ph type="title"/>
          </p:nvPr>
        </p:nvSpPr>
        <p:spPr/>
        <p:txBody>
          <a:bodyPr/>
          <a:lstStyle/>
          <a:p>
            <a:r>
              <a:rPr lang="en-GB" dirty="0" err="1"/>
              <a:t>Blootstelling</a:t>
            </a:r>
            <a:r>
              <a:rPr lang="en-GB" dirty="0"/>
              <a:t> </a:t>
            </a:r>
            <a:r>
              <a:rPr lang="en-GB" dirty="0" err="1"/>
              <a:t>als</a:t>
            </a:r>
            <a:r>
              <a:rPr lang="en-GB" dirty="0"/>
              <a:t> </a:t>
            </a:r>
            <a:r>
              <a:rPr lang="en-GB" dirty="0" err="1"/>
              <a:t>risico</a:t>
            </a:r>
            <a:endParaRPr lang="nl-NL" dirty="0"/>
          </a:p>
        </p:txBody>
      </p:sp>
      <p:pic>
        <p:nvPicPr>
          <p:cNvPr id="5" name="Picture 9">
            <a:extLst>
              <a:ext uri="{FF2B5EF4-FFF2-40B4-BE49-F238E27FC236}">
                <a16:creationId xmlns:a16="http://schemas.microsoft.com/office/drawing/2014/main" id="{4055EBF9-FC89-2CD5-831D-D56B30B16F8A}"/>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6883748" y="182299"/>
            <a:ext cx="2260252" cy="953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5760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0FEAE9EE-0994-4E43-9FEA-3EF4CE99AE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4679157" y="1696249"/>
            <a:ext cx="4097179" cy="2936376"/>
          </a:xfrm>
          <a:prstGeom prst="rect">
            <a:avLst/>
          </a:prstGeom>
        </p:spPr>
      </p:pic>
      <p:sp>
        <p:nvSpPr>
          <p:cNvPr id="5" name="Tijdelijke aanduiding voor voettekst 4">
            <a:extLst>
              <a:ext uri="{FF2B5EF4-FFF2-40B4-BE49-F238E27FC236}">
                <a16:creationId xmlns:a16="http://schemas.microsoft.com/office/drawing/2014/main" id="{C81619D0-6450-4105-AE8F-842BF9DE2351}"/>
              </a:ext>
            </a:extLst>
          </p:cNvPr>
          <p:cNvSpPr>
            <a:spLocks noGrp="1"/>
          </p:cNvSpPr>
          <p:nvPr>
            <p:ph type="ftr" sz="quarter" idx="11"/>
          </p:nvPr>
        </p:nvSpPr>
        <p:spPr/>
        <p:txBody>
          <a:bodyPr/>
          <a:lstStyle/>
          <a:p>
            <a:r>
              <a:rPr lang="nl-NL"/>
              <a:t>Onregelmatig Werk en Gezondheid: "Lessen" uit de Luchtvaartsector</a:t>
            </a:r>
            <a:endParaRPr lang="nl-NL" dirty="0"/>
          </a:p>
        </p:txBody>
      </p:sp>
      <p:sp>
        <p:nvSpPr>
          <p:cNvPr id="3" name="Tijdelijke aanduiding voor inhoud 2">
            <a:extLst>
              <a:ext uri="{FF2B5EF4-FFF2-40B4-BE49-F238E27FC236}">
                <a16:creationId xmlns:a16="http://schemas.microsoft.com/office/drawing/2014/main" id="{EC7CBBAC-6969-4270-8D9F-3F1DAD043BE2}"/>
              </a:ext>
            </a:extLst>
          </p:cNvPr>
          <p:cNvSpPr>
            <a:spLocks noGrp="1"/>
          </p:cNvSpPr>
          <p:nvPr>
            <p:ph idx="1"/>
          </p:nvPr>
        </p:nvSpPr>
        <p:spPr/>
        <p:txBody>
          <a:bodyPr/>
          <a:lstStyle/>
          <a:p>
            <a:pPr marL="0" indent="0">
              <a:buNone/>
              <a:defRPr/>
            </a:pPr>
            <a:r>
              <a:rPr lang="nl-NL" sz="1500" dirty="0"/>
              <a:t>Gezondheidsraad (2017): geen sluitend bewijs voor subpopulatie die door persoons-, leefstijl- of </a:t>
            </a:r>
            <a:r>
              <a:rPr lang="nl-NL" sz="1500" dirty="0" err="1"/>
              <a:t>omgevingsgebonden</a:t>
            </a:r>
            <a:r>
              <a:rPr lang="nl-NL" sz="1500" dirty="0"/>
              <a:t> kenmerken eerder ziek worden. </a:t>
            </a:r>
          </a:p>
          <a:p>
            <a:pPr marL="0" indent="0">
              <a:buNone/>
              <a:defRPr/>
            </a:pPr>
            <a:endParaRPr lang="nl-NL" sz="1500" dirty="0"/>
          </a:p>
          <a:p>
            <a:pPr marL="0" indent="0">
              <a:buNone/>
              <a:defRPr/>
            </a:pPr>
            <a:r>
              <a:rPr lang="nl-NL" sz="1500" dirty="0"/>
              <a:t>Verminderde tolerantie voor nachtwerk</a:t>
            </a:r>
          </a:p>
          <a:p>
            <a:pPr>
              <a:defRPr/>
            </a:pPr>
            <a:r>
              <a:rPr lang="nl-NL" sz="1500" dirty="0"/>
              <a:t>Geslacht</a:t>
            </a:r>
          </a:p>
          <a:p>
            <a:pPr>
              <a:defRPr/>
            </a:pPr>
            <a:r>
              <a:rPr lang="nl-NL" sz="1500" dirty="0"/>
              <a:t>Fitheid</a:t>
            </a:r>
          </a:p>
          <a:p>
            <a:pPr>
              <a:defRPr/>
            </a:pPr>
            <a:r>
              <a:rPr lang="nl-NL" sz="1500" dirty="0"/>
              <a:t>Lichtgevoeligheid</a:t>
            </a:r>
          </a:p>
          <a:p>
            <a:pPr>
              <a:defRPr/>
            </a:pPr>
            <a:r>
              <a:rPr lang="nl-NL" sz="1500" dirty="0"/>
              <a:t>Karaktereigenschappen, </a:t>
            </a:r>
          </a:p>
          <a:p>
            <a:pPr lvl="1">
              <a:defRPr/>
            </a:pPr>
            <a:r>
              <a:rPr lang="nl-NL" sz="1500" dirty="0"/>
              <a:t>Lage flexibiliteit</a:t>
            </a:r>
          </a:p>
          <a:p>
            <a:pPr lvl="1">
              <a:defRPr/>
            </a:pPr>
            <a:r>
              <a:rPr lang="nl-NL" sz="1500" dirty="0" err="1"/>
              <a:t>Neurotisme</a:t>
            </a:r>
            <a:endParaRPr lang="nl-NL" sz="1500" dirty="0"/>
          </a:p>
          <a:p>
            <a:pPr lvl="1">
              <a:defRPr/>
            </a:pPr>
            <a:r>
              <a:rPr lang="nl-NL" sz="1500" dirty="0" err="1"/>
              <a:t>Introvertheid</a:t>
            </a:r>
            <a:endParaRPr lang="nl-NL" sz="1500" dirty="0"/>
          </a:p>
          <a:p>
            <a:pPr>
              <a:defRPr/>
            </a:pPr>
            <a:r>
              <a:rPr lang="nl-NL" sz="1500" dirty="0"/>
              <a:t>Hogere leeftijd</a:t>
            </a:r>
          </a:p>
          <a:p>
            <a:pPr>
              <a:defRPr/>
            </a:pPr>
            <a:endParaRPr lang="nl-NL" sz="1500" dirty="0"/>
          </a:p>
          <a:p>
            <a:endParaRPr lang="nl-NL" dirty="0"/>
          </a:p>
        </p:txBody>
      </p:sp>
      <p:sp>
        <p:nvSpPr>
          <p:cNvPr id="2" name="Titel 1">
            <a:extLst>
              <a:ext uri="{FF2B5EF4-FFF2-40B4-BE49-F238E27FC236}">
                <a16:creationId xmlns:a16="http://schemas.microsoft.com/office/drawing/2014/main" id="{901FB865-4971-4B68-B8E8-E68C81AACF85}"/>
              </a:ext>
            </a:extLst>
          </p:cNvPr>
          <p:cNvSpPr>
            <a:spLocks noGrp="1"/>
          </p:cNvSpPr>
          <p:nvPr>
            <p:ph type="title"/>
          </p:nvPr>
        </p:nvSpPr>
        <p:spPr/>
        <p:txBody>
          <a:bodyPr/>
          <a:lstStyle/>
          <a:p>
            <a:r>
              <a:rPr lang="nl-NL" dirty="0"/>
              <a:t>Niet iedereen kan er even goed tegen</a:t>
            </a:r>
          </a:p>
        </p:txBody>
      </p:sp>
      <p:sp>
        <p:nvSpPr>
          <p:cNvPr id="9" name="Rectangle 10">
            <a:extLst>
              <a:ext uri="{FF2B5EF4-FFF2-40B4-BE49-F238E27FC236}">
                <a16:creationId xmlns:a16="http://schemas.microsoft.com/office/drawing/2014/main" id="{94319ED8-77A7-4943-81A6-7AA2FEE69A5E}"/>
              </a:ext>
            </a:extLst>
          </p:cNvPr>
          <p:cNvSpPr/>
          <p:nvPr/>
        </p:nvSpPr>
        <p:spPr>
          <a:xfrm>
            <a:off x="4024800" y="4669578"/>
            <a:ext cx="2961084" cy="135731"/>
          </a:xfrm>
          <a:prstGeom prst="rect">
            <a:avLst/>
          </a:prstGeom>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nl-NL" sz="750" dirty="0"/>
              <a:t>Bron: Costa &amp; </a:t>
            </a:r>
            <a:r>
              <a:rPr lang="nl-NL" sz="750" dirty="0" err="1"/>
              <a:t>Sartori</a:t>
            </a:r>
            <a:r>
              <a:rPr lang="nl-NL" sz="750" dirty="0"/>
              <a:t>, 2007</a:t>
            </a:r>
          </a:p>
        </p:txBody>
      </p:sp>
      <p:sp>
        <p:nvSpPr>
          <p:cNvPr id="11" name="Rectangle 12">
            <a:extLst>
              <a:ext uri="{FF2B5EF4-FFF2-40B4-BE49-F238E27FC236}">
                <a16:creationId xmlns:a16="http://schemas.microsoft.com/office/drawing/2014/main" id="{0C193E68-47A6-4C7C-BE18-E79D699E8DFA}"/>
              </a:ext>
            </a:extLst>
          </p:cNvPr>
          <p:cNvSpPr/>
          <p:nvPr/>
        </p:nvSpPr>
        <p:spPr>
          <a:xfrm>
            <a:off x="494368" y="4675574"/>
            <a:ext cx="2962275" cy="134540"/>
          </a:xfrm>
          <a:prstGeom prst="rect">
            <a:avLst/>
          </a:prstGeom>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nl-NL" sz="750" dirty="0"/>
              <a:t>Bron: </a:t>
            </a:r>
            <a:r>
              <a:rPr lang="nl-NL" sz="750" dirty="0" err="1"/>
              <a:t>Saksvik</a:t>
            </a:r>
            <a:r>
              <a:rPr lang="nl-NL" sz="750" dirty="0"/>
              <a:t> et al., 2011, Storemark et al., 2013</a:t>
            </a:r>
          </a:p>
        </p:txBody>
      </p:sp>
    </p:spTree>
    <p:extLst>
      <p:ext uri="{BB962C8B-B14F-4D97-AF65-F5344CB8AC3E}">
        <p14:creationId xmlns:p14="http://schemas.microsoft.com/office/powerpoint/2010/main" val="6460580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303BDD6-CCBA-4FC2-AE60-22EBB5991193}"/>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sp>
        <p:nvSpPr>
          <p:cNvPr id="4" name="Title 3">
            <a:extLst>
              <a:ext uri="{FF2B5EF4-FFF2-40B4-BE49-F238E27FC236}">
                <a16:creationId xmlns:a16="http://schemas.microsoft.com/office/drawing/2014/main" id="{E551481C-BE24-7690-EFEA-2F40D7832543}"/>
              </a:ext>
            </a:extLst>
          </p:cNvPr>
          <p:cNvSpPr>
            <a:spLocks noGrp="1"/>
          </p:cNvSpPr>
          <p:nvPr>
            <p:ph type="title"/>
          </p:nvPr>
        </p:nvSpPr>
        <p:spPr>
          <a:xfrm>
            <a:off x="792163" y="333386"/>
            <a:ext cx="7773988" cy="461665"/>
          </a:xfrm>
        </p:spPr>
        <p:txBody>
          <a:bodyPr/>
          <a:lstStyle/>
          <a:p>
            <a:r>
              <a:rPr lang="nl-NL" dirty="0"/>
              <a:t>Invloed chronotype (plus leeftijd en geslacht)</a:t>
            </a:r>
          </a:p>
        </p:txBody>
      </p:sp>
      <p:pic>
        <p:nvPicPr>
          <p:cNvPr id="1026" name="Picture 2" descr="Chronobiology and Performance | Incito Mentis">
            <a:extLst>
              <a:ext uri="{FF2B5EF4-FFF2-40B4-BE49-F238E27FC236}">
                <a16:creationId xmlns:a16="http://schemas.microsoft.com/office/drawing/2014/main" id="{3DE9F07F-FB9F-4780-9953-70E7AC79D4D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70485" y="1957930"/>
            <a:ext cx="2186785" cy="95671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9B74135B-6D9C-408B-0AE6-77C1F76354F7}"/>
              </a:ext>
            </a:extLst>
          </p:cNvPr>
          <p:cNvPicPr>
            <a:picLocks noChangeAspect="1"/>
          </p:cNvPicPr>
          <p:nvPr/>
        </p:nvPicPr>
        <p:blipFill>
          <a:blip r:embed="rId4"/>
          <a:stretch>
            <a:fillRect/>
          </a:stretch>
        </p:blipFill>
        <p:spPr>
          <a:xfrm>
            <a:off x="5138581" y="1548991"/>
            <a:ext cx="4005419" cy="3104444"/>
          </a:xfrm>
          <a:prstGeom prst="rect">
            <a:avLst/>
          </a:prstGeom>
        </p:spPr>
      </p:pic>
      <p:pic>
        <p:nvPicPr>
          <p:cNvPr id="4098" name="Picture 2">
            <a:extLst>
              <a:ext uri="{FF2B5EF4-FFF2-40B4-BE49-F238E27FC236}">
                <a16:creationId xmlns:a16="http://schemas.microsoft.com/office/drawing/2014/main" id="{A3DA68D4-107A-9C17-51B5-96391819EFE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6301"/>
          <a:stretch/>
        </p:blipFill>
        <p:spPr bwMode="auto">
          <a:xfrm>
            <a:off x="0" y="2217926"/>
            <a:ext cx="4757270" cy="2243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89442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FAB8935-FAD8-E152-3F65-5B313B101EDB}"/>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8" name="Content Placeholder 7">
            <a:extLst>
              <a:ext uri="{FF2B5EF4-FFF2-40B4-BE49-F238E27FC236}">
                <a16:creationId xmlns:a16="http://schemas.microsoft.com/office/drawing/2014/main" id="{0330576B-6FBE-1E72-816D-AD477D69CE4A}"/>
              </a:ext>
            </a:extLst>
          </p:cNvPr>
          <p:cNvSpPr>
            <a:spLocks noGrp="1"/>
          </p:cNvSpPr>
          <p:nvPr>
            <p:ph idx="1"/>
          </p:nvPr>
        </p:nvSpPr>
        <p:spPr>
          <a:xfrm>
            <a:off x="576787" y="1457553"/>
            <a:ext cx="6070887" cy="3492277"/>
          </a:xfrm>
        </p:spPr>
        <p:txBody>
          <a:bodyPr/>
          <a:lstStyle/>
          <a:p>
            <a:pPr marL="0" indent="0">
              <a:buNone/>
            </a:pPr>
            <a:r>
              <a:rPr lang="en-GB" dirty="0"/>
              <a:t>Senior Scientist Human Performance &amp; Safety</a:t>
            </a:r>
          </a:p>
          <a:p>
            <a:r>
              <a:rPr lang="en-US" dirty="0"/>
              <a:t>Nederland Lucht </a:t>
            </a:r>
            <a:r>
              <a:rPr lang="en-US" dirty="0" err="1"/>
              <a:t>en</a:t>
            </a:r>
            <a:r>
              <a:rPr lang="en-US" dirty="0"/>
              <a:t> </a:t>
            </a:r>
            <a:r>
              <a:rPr lang="en-US" dirty="0" err="1"/>
              <a:t>Ruimtevaart</a:t>
            </a:r>
            <a:r>
              <a:rPr lang="en-US" dirty="0"/>
              <a:t> Centrum (NLR)</a:t>
            </a:r>
            <a:endParaRPr lang="en-GB" dirty="0"/>
          </a:p>
          <a:p>
            <a:endParaRPr lang="en-GB" dirty="0"/>
          </a:p>
          <a:p>
            <a:pPr marL="0" indent="0">
              <a:buNone/>
            </a:pPr>
            <a:r>
              <a:rPr lang="en-GB" dirty="0"/>
              <a:t>PhD Public &amp; Occupational Health (Amsterdam UMC)</a:t>
            </a:r>
          </a:p>
          <a:p>
            <a:r>
              <a:rPr lang="en-US" i="1" dirty="0"/>
              <a:t>Irregular working hours in the airline industry: Work schedule related health outcomes and possibilities for prevention</a:t>
            </a:r>
            <a:endParaRPr lang="en-GB" i="1" dirty="0"/>
          </a:p>
          <a:p>
            <a:endParaRPr lang="nl-NL" dirty="0"/>
          </a:p>
          <a:p>
            <a:pPr marL="0" indent="0">
              <a:buNone/>
            </a:pPr>
            <a:r>
              <a:rPr lang="nl-NL" dirty="0"/>
              <a:t>&gt;15 jaar ervaring in internationale vermoeidheid en slaap gerelateerde projecten, civiel &amp; militair, voornamelijk luchtvaart gerelateerd  </a:t>
            </a:r>
          </a:p>
        </p:txBody>
      </p:sp>
      <p:pic>
        <p:nvPicPr>
          <p:cNvPr id="6" name="Picture 5">
            <a:extLst>
              <a:ext uri="{FF2B5EF4-FFF2-40B4-BE49-F238E27FC236}">
                <a16:creationId xmlns:a16="http://schemas.microsoft.com/office/drawing/2014/main" id="{8E349F0B-2402-A85B-C00B-9B7446F42C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7674" y="1457552"/>
            <a:ext cx="2327849" cy="3492277"/>
          </a:xfrm>
          <a:prstGeom prst="rect">
            <a:avLst/>
          </a:prstGeom>
        </p:spPr>
      </p:pic>
      <p:sp>
        <p:nvSpPr>
          <p:cNvPr id="5" name="Title 4">
            <a:extLst>
              <a:ext uri="{FF2B5EF4-FFF2-40B4-BE49-F238E27FC236}">
                <a16:creationId xmlns:a16="http://schemas.microsoft.com/office/drawing/2014/main" id="{0EC31649-9684-9FF1-9B81-2B34DB1EBFE4}"/>
              </a:ext>
            </a:extLst>
          </p:cNvPr>
          <p:cNvSpPr>
            <a:spLocks noGrp="1"/>
          </p:cNvSpPr>
          <p:nvPr>
            <p:ph type="title"/>
          </p:nvPr>
        </p:nvSpPr>
        <p:spPr/>
        <p:txBody>
          <a:bodyPr/>
          <a:lstStyle/>
          <a:p>
            <a:endParaRPr lang="nl-NL"/>
          </a:p>
        </p:txBody>
      </p:sp>
    </p:spTree>
    <p:extLst>
      <p:ext uri="{BB962C8B-B14F-4D97-AF65-F5344CB8AC3E}">
        <p14:creationId xmlns:p14="http://schemas.microsoft.com/office/powerpoint/2010/main" val="2091690123"/>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5DC3CFE-BE1D-BFF9-D182-6A2958D02F86}"/>
              </a:ext>
            </a:extLst>
          </p:cNvPr>
          <p:cNvPicPr>
            <a:picLocks noChangeAspect="1"/>
          </p:cNvPicPr>
          <p:nvPr/>
        </p:nvPicPr>
        <p:blipFill>
          <a:blip r:embed="rId2"/>
          <a:srcRect t="4910" b="54691"/>
          <a:stretch/>
        </p:blipFill>
        <p:spPr>
          <a:xfrm>
            <a:off x="3190874" y="0"/>
            <a:ext cx="6117433" cy="2357745"/>
          </a:xfrm>
          <a:prstGeom prst="rect">
            <a:avLst/>
          </a:prstGeom>
        </p:spPr>
      </p:pic>
      <p:sp>
        <p:nvSpPr>
          <p:cNvPr id="4" name="Title 3">
            <a:extLst>
              <a:ext uri="{FF2B5EF4-FFF2-40B4-BE49-F238E27FC236}">
                <a16:creationId xmlns:a16="http://schemas.microsoft.com/office/drawing/2014/main" id="{13DE6B76-9388-38A5-183C-A548CAACBAA6}"/>
              </a:ext>
            </a:extLst>
          </p:cNvPr>
          <p:cNvSpPr>
            <a:spLocks noGrp="1"/>
          </p:cNvSpPr>
          <p:nvPr>
            <p:ph type="title"/>
          </p:nvPr>
        </p:nvSpPr>
        <p:spPr/>
        <p:txBody>
          <a:bodyPr/>
          <a:lstStyle/>
          <a:p>
            <a:r>
              <a:rPr lang="en-GB" dirty="0"/>
              <a:t>NVAB </a:t>
            </a:r>
            <a:r>
              <a:rPr lang="en-GB" dirty="0" err="1"/>
              <a:t>richtlijn</a:t>
            </a:r>
            <a:r>
              <a:rPr lang="en-GB" dirty="0"/>
              <a:t> - </a:t>
            </a:r>
            <a:r>
              <a:rPr lang="en-GB" dirty="0" err="1"/>
              <a:t>preventie</a:t>
            </a:r>
            <a:endParaRPr lang="nl-NL" dirty="0"/>
          </a:p>
        </p:txBody>
      </p:sp>
      <p:pic>
        <p:nvPicPr>
          <p:cNvPr id="7" name="Picture 6">
            <a:extLst>
              <a:ext uri="{FF2B5EF4-FFF2-40B4-BE49-F238E27FC236}">
                <a16:creationId xmlns:a16="http://schemas.microsoft.com/office/drawing/2014/main" id="{BC2153B5-488F-7A18-13BB-862612D58658}"/>
              </a:ext>
            </a:extLst>
          </p:cNvPr>
          <p:cNvPicPr>
            <a:picLocks noChangeAspect="1"/>
          </p:cNvPicPr>
          <p:nvPr/>
        </p:nvPicPr>
        <p:blipFill>
          <a:blip r:embed="rId2"/>
          <a:srcRect t="48453" r="3101"/>
          <a:stretch/>
        </p:blipFill>
        <p:spPr>
          <a:xfrm>
            <a:off x="3143915" y="2149097"/>
            <a:ext cx="6028660" cy="3059624"/>
          </a:xfrm>
          <a:prstGeom prst="rect">
            <a:avLst/>
          </a:prstGeom>
        </p:spPr>
      </p:pic>
      <p:cxnSp>
        <p:nvCxnSpPr>
          <p:cNvPr id="3" name="Straight Arrow Connector 2">
            <a:extLst>
              <a:ext uri="{FF2B5EF4-FFF2-40B4-BE49-F238E27FC236}">
                <a16:creationId xmlns:a16="http://schemas.microsoft.com/office/drawing/2014/main" id="{AE45DEBA-4228-1F7D-4D4B-28AB89E6F9CD}"/>
              </a:ext>
            </a:extLst>
          </p:cNvPr>
          <p:cNvCxnSpPr/>
          <p:nvPr/>
        </p:nvCxnSpPr>
        <p:spPr>
          <a:xfrm>
            <a:off x="3258215" y="4010025"/>
            <a:ext cx="456535"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 name="Straight Arrow Connector 4">
            <a:extLst>
              <a:ext uri="{FF2B5EF4-FFF2-40B4-BE49-F238E27FC236}">
                <a16:creationId xmlns:a16="http://schemas.microsoft.com/office/drawing/2014/main" id="{DED64BC9-8FA9-7A74-B6F4-40E6C8987FF5}"/>
              </a:ext>
            </a:extLst>
          </p:cNvPr>
          <p:cNvCxnSpPr/>
          <p:nvPr/>
        </p:nvCxnSpPr>
        <p:spPr>
          <a:xfrm>
            <a:off x="5934740" y="4324350"/>
            <a:ext cx="456535"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742540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14B8AA-5BD5-2A0D-B9C5-599AE02F6D15}"/>
              </a:ext>
            </a:extLst>
          </p:cNvPr>
          <p:cNvSpPr>
            <a:spLocks noGrp="1"/>
          </p:cNvSpPr>
          <p:nvPr>
            <p:ph type="title"/>
          </p:nvPr>
        </p:nvSpPr>
        <p:spPr/>
        <p:txBody>
          <a:bodyPr/>
          <a:lstStyle/>
          <a:p>
            <a:r>
              <a:rPr lang="en-GB" dirty="0"/>
              <a:t>3. Werkwijze </a:t>
            </a:r>
            <a:r>
              <a:rPr lang="en-GB" dirty="0" err="1"/>
              <a:t>luchtvaart</a:t>
            </a:r>
            <a:endParaRPr lang="nl-NL" dirty="0"/>
          </a:p>
        </p:txBody>
      </p:sp>
      <p:sp>
        <p:nvSpPr>
          <p:cNvPr id="6" name="Text Placeholder 5">
            <a:extLst>
              <a:ext uri="{FF2B5EF4-FFF2-40B4-BE49-F238E27FC236}">
                <a16:creationId xmlns:a16="http://schemas.microsoft.com/office/drawing/2014/main" id="{730CF9B4-F8F5-76CD-DD8D-14F0EE33251E}"/>
              </a:ext>
            </a:extLst>
          </p:cNvPr>
          <p:cNvSpPr>
            <a:spLocks noGrp="1"/>
          </p:cNvSpPr>
          <p:nvPr>
            <p:ph type="body" idx="1"/>
          </p:nvPr>
        </p:nvSpPr>
        <p:spPr/>
        <p:txBody>
          <a:bodyPr/>
          <a:lstStyle/>
          <a:p>
            <a:endParaRPr lang="nl-NL" dirty="0"/>
          </a:p>
        </p:txBody>
      </p:sp>
      <p:sp>
        <p:nvSpPr>
          <p:cNvPr id="2" name="Footer Placeholder 1">
            <a:extLst>
              <a:ext uri="{FF2B5EF4-FFF2-40B4-BE49-F238E27FC236}">
                <a16:creationId xmlns:a16="http://schemas.microsoft.com/office/drawing/2014/main" id="{DFA2313E-75C1-BCDD-C376-7BE2AE28A31D}"/>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Tree>
    <p:extLst>
      <p:ext uri="{BB962C8B-B14F-4D97-AF65-F5344CB8AC3E}">
        <p14:creationId xmlns:p14="http://schemas.microsoft.com/office/powerpoint/2010/main" val="3914396649"/>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CA1B50B8-801D-F9EB-2569-DDDB83E0C172}"/>
              </a:ext>
            </a:extLst>
          </p:cNvPr>
          <p:cNvPicPr>
            <a:picLocks noGrp="1" noChangeAspect="1"/>
          </p:cNvPicPr>
          <p:nvPr>
            <p:ph idx="1"/>
          </p:nvPr>
        </p:nvPicPr>
        <p:blipFill>
          <a:blip r:embed="rId3"/>
          <a:stretch>
            <a:fillRect/>
          </a:stretch>
        </p:blipFill>
        <p:spPr>
          <a:xfrm>
            <a:off x="447606" y="944562"/>
            <a:ext cx="4840540" cy="3254375"/>
          </a:xfrm>
        </p:spPr>
      </p:pic>
      <p:pic>
        <p:nvPicPr>
          <p:cNvPr id="2054" name="Picture 6" descr="http://fotowolf.nl/wp-content/uploads/2013/05/SW20121027-Schiphol-007.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441" r="-516" b="7108"/>
          <a:stretch/>
        </p:blipFill>
        <p:spPr bwMode="auto">
          <a:xfrm>
            <a:off x="5884161" y="1618415"/>
            <a:ext cx="3259839" cy="19996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83DC3F37-61CB-172B-3233-FAB352D60186}"/>
              </a:ext>
            </a:extLst>
          </p:cNvPr>
          <p:cNvGrpSpPr/>
          <p:nvPr/>
        </p:nvGrpSpPr>
        <p:grpSpPr>
          <a:xfrm>
            <a:off x="4408219" y="3767562"/>
            <a:ext cx="4735781" cy="1393591"/>
            <a:chOff x="1158949" y="3419674"/>
            <a:chExt cx="5212937" cy="1723826"/>
          </a:xfrm>
        </p:grpSpPr>
        <p:pic>
          <p:nvPicPr>
            <p:cNvPr id="3" name="Picture 4" descr="KLM Crew 3"/>
            <p:cNvPicPr>
              <a:picLocks noChangeAspect="1" noChangeArrowheads="1"/>
            </p:cNvPicPr>
            <p:nvPr/>
          </p:nvPicPr>
          <p:blipFill>
            <a:blip r:embed="rId5">
              <a:extLst>
                <a:ext uri="{BEBA8EAE-BF5A-486C-A8C5-ECC9F3942E4B}">
                  <a14:imgProps xmlns:a14="http://schemas.microsoft.com/office/drawing/2010/main">
                    <a14:imgLayer r:embed="rId6">
                      <a14:imgEffect>
                        <a14:artisticPaintStrokes/>
                      </a14:imgEffect>
                      <a14:imgEffect>
                        <a14:sharpenSoften amount="-50000"/>
                      </a14:imgEffect>
                    </a14:imgLayer>
                  </a14:imgProps>
                </a:ext>
                <a:ext uri="{28A0092B-C50C-407E-A947-70E740481C1C}">
                  <a14:useLocalDpi xmlns:a14="http://schemas.microsoft.com/office/drawing/2010/main"/>
                </a:ext>
              </a:extLst>
            </a:blip>
            <a:srcRect/>
            <a:stretch>
              <a:fillRect/>
            </a:stretch>
          </p:blipFill>
          <p:spPr bwMode="auto">
            <a:xfrm>
              <a:off x="5364625" y="3585882"/>
              <a:ext cx="1007261" cy="155761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 name="Picture 2" descr="http://www.afiklmem.com/AFIKLMEM/img/PseudoSites/Solutions/Customized/WT_Customized.jpg"/>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artisticPaintStrokes/>
                      </a14:imgEffect>
                      <a14:imgEffect>
                        <a14:sharpenSoften amount="50000"/>
                      </a14:imgEffect>
                    </a14:imgLayer>
                  </a14:imgProps>
                </a:ext>
                <a:ext uri="{28A0092B-C50C-407E-A947-70E740481C1C}">
                  <a14:useLocalDpi xmlns:a14="http://schemas.microsoft.com/office/drawing/2010/main"/>
                </a:ext>
              </a:extLst>
            </a:blip>
            <a:srcRect/>
            <a:stretch/>
          </p:blipFill>
          <p:spPr bwMode="auto">
            <a:xfrm>
              <a:off x="1158949" y="3419674"/>
              <a:ext cx="4367042" cy="1690358"/>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grpSp>
      <p:sp>
        <p:nvSpPr>
          <p:cNvPr id="2" name="Footer Placeholder 1">
            <a:extLst>
              <a:ext uri="{FF2B5EF4-FFF2-40B4-BE49-F238E27FC236}">
                <a16:creationId xmlns:a16="http://schemas.microsoft.com/office/drawing/2014/main" id="{310727AD-88C4-4A99-800A-C57EE84970F6}"/>
              </a:ext>
            </a:extLst>
          </p:cNvPr>
          <p:cNvSpPr>
            <a:spLocks noGrp="1"/>
          </p:cNvSpPr>
          <p:nvPr>
            <p:ph type="ftr" sz="quarter" idx="11"/>
          </p:nvPr>
        </p:nvSpPr>
        <p:spPr/>
        <p:txBody>
          <a:bodyPr/>
          <a:lstStyle/>
          <a:p>
            <a:pPr>
              <a:defRPr/>
            </a:pPr>
            <a:r>
              <a:rPr lang="nl-NL"/>
              <a:t>Onregelmatig Werk en Gezondheid: "Lessen" uit de Luchtvaartsector</a:t>
            </a:r>
          </a:p>
        </p:txBody>
      </p:sp>
      <p:sp>
        <p:nvSpPr>
          <p:cNvPr id="8" name="Title 7">
            <a:extLst>
              <a:ext uri="{FF2B5EF4-FFF2-40B4-BE49-F238E27FC236}">
                <a16:creationId xmlns:a16="http://schemas.microsoft.com/office/drawing/2014/main" id="{181A57AC-695A-D027-C3EA-5482B248CD46}"/>
              </a:ext>
            </a:extLst>
          </p:cNvPr>
          <p:cNvSpPr>
            <a:spLocks noGrp="1"/>
          </p:cNvSpPr>
          <p:nvPr>
            <p:ph type="title"/>
          </p:nvPr>
        </p:nvSpPr>
        <p:spPr>
          <a:xfrm>
            <a:off x="792163" y="333386"/>
            <a:ext cx="7773988" cy="461665"/>
          </a:xfrm>
        </p:spPr>
        <p:txBody>
          <a:bodyPr/>
          <a:lstStyle/>
          <a:p>
            <a:r>
              <a:rPr lang="en-GB" dirty="0"/>
              <a:t>Relatief </a:t>
            </a:r>
            <a:r>
              <a:rPr lang="en-GB" dirty="0" err="1"/>
              <a:t>grootste</a:t>
            </a:r>
            <a:r>
              <a:rPr lang="en-GB" dirty="0"/>
              <a:t> </a:t>
            </a:r>
            <a:r>
              <a:rPr lang="en-GB" dirty="0" err="1"/>
              <a:t>groep</a:t>
            </a:r>
            <a:r>
              <a:rPr lang="en-GB" dirty="0"/>
              <a:t> </a:t>
            </a:r>
            <a:r>
              <a:rPr lang="en-GB" dirty="0" err="1"/>
              <a:t>nachtwerkers</a:t>
            </a:r>
            <a:endParaRPr lang="nl-NL" dirty="0"/>
          </a:p>
        </p:txBody>
      </p:sp>
    </p:spTree>
    <p:extLst>
      <p:ext uri="{BB962C8B-B14F-4D97-AF65-F5344CB8AC3E}">
        <p14:creationId xmlns:p14="http://schemas.microsoft.com/office/powerpoint/2010/main" val="289403053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1A220E4-D406-489A-9EDC-DFBB6BB69E2A}"/>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pic>
        <p:nvPicPr>
          <p:cNvPr id="3" name="Content Placeholder 2">
            <a:extLst>
              <a:ext uri="{FF2B5EF4-FFF2-40B4-BE49-F238E27FC236}">
                <a16:creationId xmlns:a16="http://schemas.microsoft.com/office/drawing/2014/main" id="{6D5A559B-D09C-4B95-A618-7024F158E5EC}"/>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5527578" y="1206627"/>
            <a:ext cx="3480816" cy="2901696"/>
          </a:xfrm>
        </p:spPr>
      </p:pic>
      <p:sp>
        <p:nvSpPr>
          <p:cNvPr id="11" name="Title 10">
            <a:extLst>
              <a:ext uri="{FF2B5EF4-FFF2-40B4-BE49-F238E27FC236}">
                <a16:creationId xmlns:a16="http://schemas.microsoft.com/office/drawing/2014/main" id="{23458CB1-93F1-4BF8-86ED-938EABB622DF}"/>
              </a:ext>
            </a:extLst>
          </p:cNvPr>
          <p:cNvSpPr>
            <a:spLocks noGrp="1"/>
          </p:cNvSpPr>
          <p:nvPr>
            <p:ph type="title"/>
          </p:nvPr>
        </p:nvSpPr>
        <p:spPr/>
        <p:txBody>
          <a:bodyPr/>
          <a:lstStyle/>
          <a:p>
            <a:r>
              <a:rPr lang="en-GB" dirty="0" err="1"/>
              <a:t>Luchtvaart</a:t>
            </a:r>
            <a:r>
              <a:rPr lang="en-GB" dirty="0"/>
              <a:t> </a:t>
            </a:r>
            <a:r>
              <a:rPr lang="en-GB" dirty="0" err="1"/>
              <a:t>vooral</a:t>
            </a:r>
            <a:r>
              <a:rPr lang="en-GB" dirty="0"/>
              <a:t> </a:t>
            </a:r>
            <a:r>
              <a:rPr lang="en-GB" dirty="0" err="1"/>
              <a:t>gericht</a:t>
            </a:r>
            <a:r>
              <a:rPr lang="en-GB" dirty="0"/>
              <a:t> op </a:t>
            </a:r>
            <a:r>
              <a:rPr lang="en-GB" dirty="0" err="1"/>
              <a:t>korte</a:t>
            </a:r>
            <a:r>
              <a:rPr lang="en-GB" dirty="0"/>
              <a:t> </a:t>
            </a:r>
            <a:r>
              <a:rPr lang="en-GB" dirty="0" err="1"/>
              <a:t>termijneffecten</a:t>
            </a:r>
            <a:endParaRPr lang="en-GB" dirty="0"/>
          </a:p>
        </p:txBody>
      </p:sp>
      <p:pic>
        <p:nvPicPr>
          <p:cNvPr id="15" name="Picture 10" descr="fatigue-alcohol graph">
            <a:extLst>
              <a:ext uri="{FF2B5EF4-FFF2-40B4-BE49-F238E27FC236}">
                <a16:creationId xmlns:a16="http://schemas.microsoft.com/office/drawing/2014/main" id="{BD6B1D49-AD8A-4F5C-9CBD-A7D4DA2B8BEA}"/>
              </a:ext>
            </a:extLst>
          </p:cNvPr>
          <p:cNvPicPr>
            <a:picLocks noChangeAspect="1" noChangeArrowheads="1"/>
          </p:cNvPicPr>
          <p:nvPr/>
        </p:nvPicPr>
        <p:blipFill>
          <a:blip r:embed="rId4">
            <a:grayscl/>
          </a:blip>
          <a:srcRect/>
          <a:stretch>
            <a:fillRect/>
          </a:stretch>
        </p:blipFill>
        <p:spPr bwMode="auto">
          <a:xfrm>
            <a:off x="264891" y="1135424"/>
            <a:ext cx="5262687" cy="3492277"/>
          </a:xfrm>
          <a:prstGeom prst="rect">
            <a:avLst/>
          </a:prstGeom>
          <a:ln>
            <a:noFill/>
          </a:ln>
          <a:effectLst>
            <a:softEdge rad="112500"/>
          </a:effectLst>
        </p:spPr>
      </p:pic>
      <p:sp>
        <p:nvSpPr>
          <p:cNvPr id="4" name="Content Placeholder 8">
            <a:extLst>
              <a:ext uri="{FF2B5EF4-FFF2-40B4-BE49-F238E27FC236}">
                <a16:creationId xmlns:a16="http://schemas.microsoft.com/office/drawing/2014/main" id="{769A2880-B49C-31D2-7477-6E8DA5D5415B}"/>
              </a:ext>
            </a:extLst>
          </p:cNvPr>
          <p:cNvSpPr txBox="1">
            <a:spLocks/>
          </p:cNvSpPr>
          <p:nvPr/>
        </p:nvSpPr>
        <p:spPr>
          <a:xfrm>
            <a:off x="792163" y="1030411"/>
            <a:ext cx="7773988" cy="3894014"/>
          </a:xfrm>
          <a:prstGeom prst="rect">
            <a:avLst/>
          </a:prstGeom>
        </p:spPr>
        <p:txBody>
          <a:bodyPr vert="horz" lIns="91440" tIns="45720" rIns="91440" bIns="45720" rtlCol="0">
            <a:noAutofit/>
          </a:bodyPr>
          <a:lstStyle>
            <a:lvl1pPr marL="26670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1pPr>
            <a:lvl2pPr marL="53975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2pPr>
            <a:lvl3pPr marL="8064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3pPr>
            <a:lvl4pPr marL="10731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4pPr>
            <a:lvl5pPr marL="134620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600" dirty="0"/>
              <a:t>Transport: vermoeidheid een oorzakelijke factor in +/- 20% van de ongevallen (Marcus &amp; Rosekind, 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dirty="0"/>
          </a:p>
          <a:p>
            <a:endParaRPr lang="en-GB" sz="1600" dirty="0"/>
          </a:p>
          <a:p>
            <a:endParaRPr lang="en-GB" sz="1600" dirty="0"/>
          </a:p>
          <a:p>
            <a:pPr marL="0" indent="0">
              <a:buFont typeface="Arial" panose="020B0604020202020204" pitchFamily="34" charset="0"/>
              <a:buNone/>
            </a:pPr>
            <a:endParaRPr lang="en-GB" sz="1600" dirty="0"/>
          </a:p>
        </p:txBody>
      </p:sp>
    </p:spTree>
    <p:extLst>
      <p:ext uri="{BB962C8B-B14F-4D97-AF65-F5344CB8AC3E}">
        <p14:creationId xmlns:p14="http://schemas.microsoft.com/office/powerpoint/2010/main" val="12858682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DD2520-0542-4EDE-907A-51F61403EB08}"/>
              </a:ext>
            </a:extLst>
          </p:cNvPr>
          <p:cNvPicPr>
            <a:picLocks noChangeAspect="1"/>
          </p:cNvPicPr>
          <p:nvPr/>
        </p:nvPicPr>
        <p:blipFill>
          <a:blip r:embed="rId3"/>
          <a:stretch>
            <a:fillRect/>
          </a:stretch>
        </p:blipFill>
        <p:spPr>
          <a:xfrm>
            <a:off x="111173" y="2935938"/>
            <a:ext cx="5232784" cy="1477309"/>
          </a:xfrm>
          <a:prstGeom prst="rect">
            <a:avLst/>
          </a:prstGeom>
        </p:spPr>
      </p:pic>
      <p:sp>
        <p:nvSpPr>
          <p:cNvPr id="2" name="Title 1">
            <a:extLst>
              <a:ext uri="{FF2B5EF4-FFF2-40B4-BE49-F238E27FC236}">
                <a16:creationId xmlns:a16="http://schemas.microsoft.com/office/drawing/2014/main" id="{8D3F9274-EE5D-4BDF-818F-707998E9CFF7}"/>
              </a:ext>
            </a:extLst>
          </p:cNvPr>
          <p:cNvSpPr>
            <a:spLocks noGrp="1"/>
          </p:cNvSpPr>
          <p:nvPr>
            <p:ph type="title"/>
          </p:nvPr>
        </p:nvSpPr>
        <p:spPr>
          <a:xfrm>
            <a:off x="576786" y="594779"/>
            <a:ext cx="8567213" cy="430887"/>
          </a:xfrm>
        </p:spPr>
        <p:txBody>
          <a:bodyPr/>
          <a:lstStyle/>
          <a:p>
            <a:r>
              <a:rPr lang="en-GB" sz="2200" dirty="0" err="1"/>
              <a:t>Effecten</a:t>
            </a:r>
            <a:r>
              <a:rPr lang="en-GB" sz="2200" dirty="0"/>
              <a:t> pilot fatigue; van ‘</a:t>
            </a:r>
            <a:r>
              <a:rPr lang="en-GB" sz="2200" dirty="0" err="1"/>
              <a:t>onschuldig</a:t>
            </a:r>
            <a:r>
              <a:rPr lang="en-GB" sz="2200" dirty="0"/>
              <a:t>’ tot worst case scenario</a:t>
            </a:r>
          </a:p>
        </p:txBody>
      </p:sp>
      <p:sp>
        <p:nvSpPr>
          <p:cNvPr id="5" name="Footer Placeholder 4">
            <a:extLst>
              <a:ext uri="{FF2B5EF4-FFF2-40B4-BE49-F238E27FC236}">
                <a16:creationId xmlns:a16="http://schemas.microsoft.com/office/drawing/2014/main" id="{6FC2CDB8-7689-4629-849C-950C270E26AE}"/>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pic>
        <p:nvPicPr>
          <p:cNvPr id="7" name="Picture 6">
            <a:extLst>
              <a:ext uri="{FF2B5EF4-FFF2-40B4-BE49-F238E27FC236}">
                <a16:creationId xmlns:a16="http://schemas.microsoft.com/office/drawing/2014/main" id="{A7CD9486-913A-4223-9964-FE9129A84F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166" y="1136196"/>
            <a:ext cx="5409147" cy="1217359"/>
          </a:xfrm>
          <a:prstGeom prst="rect">
            <a:avLst/>
          </a:prstGeom>
        </p:spPr>
      </p:pic>
      <p:pic>
        <p:nvPicPr>
          <p:cNvPr id="4" name="Picture 3">
            <a:extLst>
              <a:ext uri="{FF2B5EF4-FFF2-40B4-BE49-F238E27FC236}">
                <a16:creationId xmlns:a16="http://schemas.microsoft.com/office/drawing/2014/main" id="{B3EAE7EF-663B-4FCE-968F-B0F07239E7A5}"/>
              </a:ext>
            </a:extLst>
          </p:cNvPr>
          <p:cNvPicPr>
            <a:picLocks noChangeAspect="1"/>
          </p:cNvPicPr>
          <p:nvPr/>
        </p:nvPicPr>
        <p:blipFill>
          <a:blip r:embed="rId5"/>
          <a:stretch>
            <a:fillRect/>
          </a:stretch>
        </p:blipFill>
        <p:spPr>
          <a:xfrm>
            <a:off x="3309819" y="1845733"/>
            <a:ext cx="5560581" cy="1323327"/>
          </a:xfrm>
          <a:prstGeom prst="rect">
            <a:avLst/>
          </a:prstGeom>
        </p:spPr>
      </p:pic>
      <p:pic>
        <p:nvPicPr>
          <p:cNvPr id="8" name="Picture 7">
            <a:extLst>
              <a:ext uri="{FF2B5EF4-FFF2-40B4-BE49-F238E27FC236}">
                <a16:creationId xmlns:a16="http://schemas.microsoft.com/office/drawing/2014/main" id="{5F85F0FC-9623-45EE-990A-30334853C8D9}"/>
              </a:ext>
            </a:extLst>
          </p:cNvPr>
          <p:cNvPicPr>
            <a:picLocks noChangeAspect="1"/>
          </p:cNvPicPr>
          <p:nvPr/>
        </p:nvPicPr>
        <p:blipFill>
          <a:blip r:embed="rId6"/>
          <a:stretch>
            <a:fillRect/>
          </a:stretch>
        </p:blipFill>
        <p:spPr>
          <a:xfrm>
            <a:off x="2448321" y="3827338"/>
            <a:ext cx="5232784" cy="1017686"/>
          </a:xfrm>
          <a:prstGeom prst="rect">
            <a:avLst/>
          </a:prstGeom>
        </p:spPr>
      </p:pic>
      <p:pic>
        <p:nvPicPr>
          <p:cNvPr id="11" name="Picture 2">
            <a:extLst>
              <a:ext uri="{FF2B5EF4-FFF2-40B4-BE49-F238E27FC236}">
                <a16:creationId xmlns:a16="http://schemas.microsoft.com/office/drawing/2014/main" id="{D3AD552F-0E7E-420A-857F-EC3EAC74334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291135" y="1128188"/>
            <a:ext cx="2892766" cy="3420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a:extLst>
              <a:ext uri="{FF2B5EF4-FFF2-40B4-BE49-F238E27FC236}">
                <a16:creationId xmlns:a16="http://schemas.microsoft.com/office/drawing/2014/main" id="{A386302B-22B0-47EA-808E-03D5996999E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920435" y="3989127"/>
            <a:ext cx="2223564" cy="1454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62767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0C01DD-191D-45C4-A4D8-03A27D81DF69}"/>
              </a:ext>
            </a:extLst>
          </p:cNvPr>
          <p:cNvSpPr>
            <a:spLocks noGrp="1"/>
          </p:cNvSpPr>
          <p:nvPr>
            <p:ph idx="1"/>
          </p:nvPr>
        </p:nvSpPr>
        <p:spPr>
          <a:xfrm>
            <a:off x="792163" y="1030411"/>
            <a:ext cx="6162310" cy="3254465"/>
          </a:xfrm>
        </p:spPr>
        <p:txBody>
          <a:bodyPr/>
          <a:lstStyle/>
          <a:p>
            <a:pPr marL="0" indent="0">
              <a:lnSpc>
                <a:spcPct val="150000"/>
              </a:lnSpc>
              <a:buNone/>
            </a:pPr>
            <a:r>
              <a:rPr lang="nl-NL" altLang="nl-NL" dirty="0"/>
              <a:t>Vermoeidheid is “een fysiologische toestand van verminderd </a:t>
            </a:r>
            <a:r>
              <a:rPr lang="nl-NL" altLang="nl-NL" u="sng" dirty="0"/>
              <a:t>mentaal of fysiek prestatievermogen </a:t>
            </a:r>
            <a:r>
              <a:rPr lang="nl-NL" altLang="nl-NL" dirty="0"/>
              <a:t>als gevolg van </a:t>
            </a:r>
            <a:r>
              <a:rPr lang="nl-NL" altLang="nl-NL" b="1" dirty="0"/>
              <a:t>slaapgebrek of langdurig wakker </a:t>
            </a:r>
            <a:r>
              <a:rPr lang="nl-NL" altLang="nl-NL" dirty="0"/>
              <a:t>zijn, een </a:t>
            </a:r>
            <a:r>
              <a:rPr lang="nl-NL" altLang="nl-NL" b="1" dirty="0"/>
              <a:t>verstoorde </a:t>
            </a:r>
            <a:r>
              <a:rPr lang="nl-NL" altLang="nl-NL" b="1" dirty="0" err="1"/>
              <a:t>circadiane</a:t>
            </a:r>
            <a:r>
              <a:rPr lang="nl-NL" altLang="nl-NL" b="1" dirty="0"/>
              <a:t> fase </a:t>
            </a:r>
            <a:r>
              <a:rPr lang="nl-NL" altLang="nl-NL" dirty="0"/>
              <a:t>of (mentale en/of fysieke) </a:t>
            </a:r>
            <a:r>
              <a:rPr lang="nl-NL" altLang="nl-NL" b="1" dirty="0"/>
              <a:t>werklast</a:t>
            </a:r>
            <a:r>
              <a:rPr lang="nl-NL" altLang="nl-NL" dirty="0"/>
              <a:t> die de alertheid van een bemanningslid en het vermogen om een ​​vliegtuig veilig te bedienen of </a:t>
            </a:r>
            <a:r>
              <a:rPr lang="nl-NL" altLang="nl-NL" dirty="0" err="1"/>
              <a:t>veiligheidsgerelateerde</a:t>
            </a:r>
            <a:r>
              <a:rPr lang="nl-NL" altLang="nl-NL" dirty="0"/>
              <a:t> taken uit te voeren, kan aantasten.” </a:t>
            </a:r>
            <a:r>
              <a:rPr lang="en-GB" dirty="0"/>
              <a:t>(ICAO, 2013) </a:t>
            </a:r>
          </a:p>
          <a:p>
            <a:pPr marL="0" indent="0">
              <a:lnSpc>
                <a:spcPct val="150000"/>
              </a:lnSpc>
              <a:buNone/>
            </a:pPr>
            <a:endParaRPr lang="en-GB" altLang="nl-NL" dirty="0"/>
          </a:p>
          <a:p>
            <a:endParaRPr lang="en-GB" dirty="0"/>
          </a:p>
        </p:txBody>
      </p:sp>
      <p:sp>
        <p:nvSpPr>
          <p:cNvPr id="37890" name="Rectangle 2">
            <a:extLst>
              <a:ext uri="{FF2B5EF4-FFF2-40B4-BE49-F238E27FC236}">
                <a16:creationId xmlns:a16="http://schemas.microsoft.com/office/drawing/2014/main" id="{34884E2A-2CAF-4B44-9684-5017782191B1}"/>
              </a:ext>
            </a:extLst>
          </p:cNvPr>
          <p:cNvSpPr>
            <a:spLocks noGrp="1" noChangeArrowheads="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nl-NL" dirty="0" err="1"/>
              <a:t>Definitie</a:t>
            </a:r>
            <a:r>
              <a:rPr lang="en-GB" altLang="nl-NL" dirty="0"/>
              <a:t> vermoeidheid (fatigue)</a:t>
            </a:r>
          </a:p>
        </p:txBody>
      </p:sp>
      <p:sp>
        <p:nvSpPr>
          <p:cNvPr id="37891" name="AutoShape 4" descr="data:image/jpeg;base64,/9j/4AAQSkZJRgABAQAAAQABAAD/2wCEAAkGBxQTEhQUExQWFhUWGB0ZFxgYGBwdHxofHR8eHB8cHBwcHCgkHBwmHR0fITEhJikrMC4uHx8zODMsNyktLisBCgoKDg0OGxAQGywmICY0LCwvLDQsLCw0LDQsLDQsLDQ0NCwsLCw0NCwsLCwsLCwsLCw0LC8sLCwsLCwsLDQsLP/AABEIAOQA3QMBEQACEQEDEQH/xAAcAAABBQEBAQAAAAAAAAAAAAAGAAMEBQcCCAH/xABNEAABAwIDBAYFCAcGBAYDAAABAgMRAAQSITEFBkFRBxMiYXGBMkJSkaEUI2JygpKxwTNDU6KywvAVJGPR0uEIc4OTVHSjs9PxFiVk/8QAGwEAAgMBAQEAAAAAAAAAAAAAAAQCAwUGAQf/xAA/EQABAwIDBAgEBAQFBQEAAAABAAIDBBESITEFQVFxEyJhgZGhsfAywdHhBhRCUiMzcvEVYpKisiRDgsLSJf/aAAwDAQACEQMRAD8A3GhCVCEqEJUISoQlQhKhCVCF8JivCQMyhQl7UR6srI9kSPvHL40k7aEX/bu7lp4/D5q8U7/1Zc/pqoLu2VTAKE92az+7A+NZ79rOJsC0HgLvP+2w8ymG0o1Nz/tHnn5Jh+8ciVFwDmooaHvOfxqHS1cvwtkP+lnyJ81LDE3XD5u+yprrea1SYXdWwPJV1iPmEqq0bPrni/R+L3n0yXnTRD9Xg0BQlb32HG6s/e4a8Oxa13xRR/7z6r381GNHO8l21vZYnS6s/wDurR+MUDZFc3/ts7i8ehR+ZiP6neDSrSy2w25+heQv/lXSVfAk1F9PWxHON45SH0ddAfE7eO9v0Vj/AGg4jVSh/wAxuR95EVX+eni+MuH9bLjxZb0XvQRv0A7nfIqVb7YJ1QFd7agr90wach2mXatDu1pxeRs7yKpfSgaG3MW89FOtr9teSVCfZOR9xzp6GshmNmOz4aHwOaofC9mZGXFSaZVSVCEqEJUISoQlQhKhCVCEqEJUISoQlQhKhCVCEqEL4pQAk5AV4SALlegXyCrLna4jsRHtqyT5DVXlWTPtRobeO1v3HId293d4pplKb9bXgNfoFRbY2shpHWXLqUI4KeMA/UaGaj5E0nHDVVruq0u7XZDuYPIuuri+OLfbsGvj9Fnu3elthPZt2l3BGi3Tgb8Q2nMjuOGtyH8OB1jUvLuzd4DL1Szq238sW9fFBW1OknaDsgPdSkj0WEhv94dv96tyDZ1NCLMYPfklHTPfmShi5uHHTicWtavaWoqPvJpsNDcgFWXLgNVJRul1dCLpFvKhF04LFwo6wNrLYyx4DhkajFETVRmjD+jLhi4Xz8FOzrXtkp2yt4bu3jqLl1scEhZw/dJj4UOijf8AEAvA8hFmyule5SQLhpq4A9YDq1+OJGX7tZVTsGjmzw2PEfax80yyslZvR9sTpBsrqE9b1a+Ddzl914ZeEkVh1ewqlg6pEg4O1HJws4JuKrYdcuX00Rpb3ziIEnuQ4dfqucfOs6Osnp3YCT/S/wD9X6eKtdEyQX8x8x9FbWm0ErOHNK/ZVkfLn5VsU9dHM7Abtd+05Hu49yTkgcwX1HEKZTqpSoQlQhKhCVCEqEJUISoQlQhKhCVCEqEKNeXqW4nNR9FI1P8At30rU1bILA5uOjRqfe8q2KFz+W8oe2jtCQpbqkBCM1FRhpv6x9dVYZfPWyYWjEeH6G8/3Hy7E8AyFt9PU/QLLN6ulYAlFiMStDcOp8vmmzknxUPKulodgMY7pag4ndu7luHd4pGWsLhhZkFntsxdbRuCApTzyhJUtegB1lRySJ0HkK2KmpgooscmTeW/uS7I3SusFH2xspy1dUy8nCpPuUOCkmM0n/PQzUqSriqohLEbg+XYVGWN0bsJRfurZt3Gyb5HVo65rthYSMeEALAmJIlCh51h7Rmkp9pwPxHA7K18r6Hs3hNwta+BwtmEDNmulSBTmOheJY+6heWUnZFgu5ebYbzUsxPADio9wEml6qpZTROlfoPPgO9WRRF7w0LXkuslm82bbxht7Upxc1qC8U8zMEnmTyrhcEolhr5tXvvbsFrfO3ZZbHVwuibuCzHcGwauL1tl9OJC0rBEkaIJEEZ6iuu2xUSU9I6SI2It623rOpo2ukDXDJN/2Ap7aDlowMg84hJVnhSlRGJR5ADz86ka9sNE2pm/a08yRuXghLpSxvEqt2xs9Vu8tlakKUgwooMieIkgaaaZQabpqgVETZWggHMX1+arkZgcWq63X33u7OEoVjZ4sudpHkJlB70kd9VVVDBUtwyNBXrJXRm4K1/dTfS2vgEI7Dv/AIdxWc/4LnreGR7q5Gv2HLTj+H12D9J1H9J1HLTmtKGra89bI8ePMIzs9qlHpytAyKo7SPrjiO+laXaTohaQlzRqbdZv9Q+fzyUpKYO+HI+R5fRXjbgUAQQQdCK6Bj2vaHNNwUgWlpsV1Ul4lQhKhCVCEqEJUISoQlQhKhCr9pbSwdlEFcTnokc1Hl3VnVtcIf4bLF/k0cT2eqZggx9Z2nr2BBm8W8bNo2XX1ntThSP0jxHBI9VsZZ6DLuFZ1Ds+WucTc4Tq46v+jeAH9mZpmQi2/cNw+pWJ7w7yXe03UownDPzVu3OFPf8ASVGqz36Cu1igp6CG+TWjfp796rLc58z+JKe2l0eXbLBePVqwjEtCVEqSNT6sGNTB8JrPp/xHSTTCIXF8gSMj538le+ikY3EV10VP4dotj20OJ/dxflXv4jZioHHgQfO3zRRG0wCOntjL2iw61dtqbcZcWm3fMSoSQDGpBAAPBQggzXNtrY9nztlpnBzXAF7Buy8OXDMHJOmIzMLXixGhQ10coXZ7QdtbgBPWNlJB0OHtAg8UlOLOtjbjmVlCypgzsQfHI997JWkBjlMbt6ZO62zbcn5TtDFB9BkAkdxjFn5CrW7T2lOB0FPbtd97fNeOp4WfG/wQJkDlmBoeeescK6QG4zSDgvs5V6vEVbmbxMWLb68C1XSk4WiQCgDLInFOuZy0SBWJtTZ01bIxuICMG5Gdz5W0yHNN087Imk/qRbuTvwbl8t3LbDZUg/ODsFWY7BxEzMk68NKxNq7E/LRB9OXGxHV1t25JunqxI4h1uaEOj5rBtVhPsrcT4whYrc207Hs17uIafMJSkymA96Io2u8NlouXRHyy8dcLfEttlZIV8Qe8kD1TWLSsO1Hxxn+VEG3/AMzrexyvxTchEAcf1Ov3BUvRjspK3XLx/wDRW4KipWcriSe/CnPxKa0PxBUubG2kh+J9h3fc5crqijYCTI7QIS2teh1510ISgLUVBKQAEg6DLLTXvmt2miMMLYySbC1zndJyOxuJCV3ZPMlBcbW2VAKRiBTPGQf6iiKeKYHo3A2yNjdDmOZqLLSdyOk0yhm/Xn6KLnUjkl72k/S15zmRjbT2I2Y9LD1Xjf71HYfsmoKot6rswtYs7tTZlMEEYigGUqBzxtn4x/Q5OGWWjlLQ2x/Uzcf8zPmPplovY2VoueTvkfr7JHa3CXEhSTIP9Qa6SCeOdgfGbhZskbmOwuTtXKCVCEqEJUISoQlQhKhCr9qX+AYUxjIkTokcVHuFZ9dW9CMDPjPgBxPYPNM08OPrO09ewIC3u3masWesc7alz1Tc9p5Q9dfJsf1rSOy9mOrXYnXwXvnq88T2cB7LNRUdFkPi9OwfMrErly72k668Qp1aU4lxohI0SkaAckjM56512b56ejDWvIbc2Hafe/QLKDHykkC9kU9GN6hTb9sgpZulpJbeiSoRoZn0TnA1GeoJrnvxFA9skdQ+7ohbE3cPDjx49hT1C4YSwZO3FTNjMs7N6z5ddEv3ScK0IJWUA+uo5yrPU98TVNU+baeH8pEOjjNwTlcjcNMuzxspsDYb9K7NyrhsROzNpW7xUfkhJKXTnEoUMJw6nORAzGnGG/zjtqUEkIH8UWBb3jPP2FV0Ygma7dxVBvZvCu4ulrbecLaVyzJIwxoQnge/WtXZuz2U9MI3MFyLO335neqJ53Ofe/JV21tpvXKgt9xTi44xkOQAEATypympYaZuGFoAVD5XvN3FRUtimLKvNfSkULzNWWxLLrOuymGjHcTofgaQrp+iwZ/qHhvTEEePFyVelYNPpYhdCKF4U/YbQUw6l1o4VoMpMAxw0IjQkVTPAydhjkFwdQpRvex2Juq+bc2m7cuqeeOJZgcgABACRwH+Z51ClpoqaMRRCwCtfK6R2JyM7+8QqwttnbOPXLd7T2EEGQQTimMIKueiUjgawIoXMrJK6t6obk3f4ccvMlOucDG2KLPirKz3Yb2Vbm7faNy+nMJSJQ2dZPhxWRllA4lOTaUm1Jvy0TujYd51d/fh4qxsDYG43C59FE6W9or6uzZcI6wp610DIBUYRA5TjGfKr/w3Ts6SaVnw3wjlr9FGucSGtOupQW5u7cJtU3eEKZUSJSZKYMSoDQE8e7OMp3xtGA1JpibPHHK/Lj7tdJ9A7Bj3In6PN/TbFNvcqKraewrVTB9pPNE6p8x3rbU2VHWMuMnDMEa3U4KgxHs3rbrS6LasaYVIClBJ7LiTmHEcP68a4lkk1FM4kZj4m7nD9w7RvH3tqFrJmAbtx4Hgfkia3eStIUkyDpXTwzMlYHsNwVmPYWOwu1TlWKKVCEqEJUISoQo1/dhpBUczokcydBStXUinjLzmdAOJ3BWwxGR1vFBG8e227Vly4fMgHMA5uueq2n6I4+BPAVi0NFJXTkOzF7uPE/tH+Vvn4WfmlELBh7hw7eZWA7Q2k5f3fWXLqUFxQBUZwtp4ADgkDQeZOZNd48fl4D0bb2Gg3+/7LIaMbhiNu1Hu2NiPgNbOskFu3WnE9cEzj9rER3Rl62QEJBrj6SugJfXVTsUgNms4cLD57tTmVqSQvFooxZu8+/fcg/aFklF6hGzFOuLbAOIQZWn0inmnLPhMgZRXQwTPdSF+0MLQ7dpkdAe32c0k5oElobmymb+bXtrtDD6QUXUYHm4MAJkSTznTjBz0qnY9HUUb3xHOLVp5/bXt01UqiRkgDhrvQm/dLWEha1KCBhQFEnCOQB0HdW2yNjSS0AXzPalSTvTSTVigQrnYO7N3eH+7MLWNCuISPFaoT5TNVSTsZ8RQG3K0LY/Qk8qDc3KG+aWklZ+8qAD5Gk37RH6QrBEd6JWeiHZrKSp5bqgMypx0ISPNITHvpZ+0JOwKYiCrbDZ1kw658mSgILiU/pOsxIE9vEVHJRnQ5QBrNcvtetnkks7QAkdpWpSwta3t3p7YO4myrlOFaQl0lWEJfIWtOoX1eM4cjpA0mADW7S19QY29IbOtpkkZoWBxw6LraHQjbmSxcvNnhjCXB8Ak/Gn27QePiASxiG5BW3eifaDEqbCLhI/ZntR3oVB8gVUzHWxu1yUDEQga6aUhRQtCkLGRSpOEjxB0NONIIuFCy+2V64ysONLLa06KSYP+47jrUJYmStLHi4O5Ta5zTdpRJuPvI8i9QV3BS26uXi4ZSrI5mdDoArKMuGVZO1tnxSUhDY7uaOrbUcvW3zTNPM4SZnI6pjpI2j120HiCCluG0/ZGf75VU9h0/Q0TAdTme/TysvKt+OU+CLd3GxsmyW9dFRU/6FtOuXFJyCiPSPAQNcqw65x2vViGnsAzV/vy4nPRNxAU0Zc/fu9+aDd7GbPG27ZOHC6CpTJBlojUd059nukGCK3tmOrA10dU3NuQd+73x8RcFJ1IjydHv3cEV9Fu+nVqRZvrhtSvmHCf0Sz6p/w1H3HuJinbGyxUs6RmT25g+/Ne005jNjoVsmzrzqlmRCCqFp9hXMfRP9aZ8dR1RpZOsLNJs4fsdx5H3pnpzRdK3LXUHiPqPeqJq6pZSVCEqEJUISNCELbQvOsXiBASJCCdEpHpuHlpl/tXLTzPrJx0e+4Z2D9TvkPqFrRsEMfW5n5D6rAt9dvr2ldoaYBLKT1dujQmdVnkVHMk6ADka7elgh2fTZ5AC59+7lZL3vnkvvKnjdjZrShb3F0sXEDEQYQkkTElBA+0Z8JrG/xTakzTPBCOj3A6kcdb+A8U7+XgacDn9by9Fa21wux/uN6ortHgUsvglOEHLAoz2Rn5d40Texlf/wBZSC0rc3M1v2jj8+eswTD/AApT1ToffvuVXtfaDOy2121mrHcL/SvGJQOCUxlMe7XXTQpKebajxUVYswfCzj2n3ny1pke2AYGZneVn6lSSTmTnPOuoAsLJG6sNhbDfu3Q1btlazrySOajokeNQkkawXcV4DfJbdud0Q27AS5eRcO64f1aTyg5r8VZd1Zc1a52TMgrAzitLaaCQEpAAGQAEAdwApJWLuKEIP3lSt68aYThyQFoxzhBJXjWQPSKQkAD6RzEzWTXQSVMjYb2bYkn5JunkbG0vtcoL3z2Y604OvCFSJC2ZSXED0kLSSY4ZyYnjwX/Kik6rXXB0vuPEfTerhN0udvBEDuw327ULe6gNpAKm2woFoe2lwqgqTkrIDQkHnCbZLo2maN5xjPPf2IZVhxwFuWiNthXKnLZla/SU2lSjzJAz7p1reYSWglZ7hYmynRU14qjeHdq2vUYLlpK+StFJ+qoZipxyvjN2lRc0HVYlvv0Tv2uJ21Kn2RmRHziB3gemO8Z93GtSCta/J+RVLmkclm4p1RvxVvultJm3uUOvtlxCZIAjsq4Kg5Kg8DznhSO0qaaopzFE7CT5jeO/7b1fBI1jw5wuu9s7Vf2jcg4SpajhbbTmEjkPxJ8T4eUtNBs2mtewGZcd/b9B3Ike+d9/AIzZtmNjM43Ql69cScKNQgfknmdVaDKa550k+2pcLLthaczvP34Ddqc04Aylbd2bis2ddxKUYAkkwkQBJmAOA7q7BrcIAWYczdbh0a70/K2C06cT9unCvPN1rIBfetBgE/VPGuO/EGzww/mWjLRw4j6jUfZaVFNf+Ge7n91pewbuQWlGSkSk+0nhSuyakkGnebluh4t3KVXF/wBwb9ewq3raSSVCEqEKq2/cwgNgwVzJ5JHpH3Ze+sras+GMQg2LtTwaPiPhknKSO7sZ3eu5ZJ0s7xdTbi2bMOXAlUaoZGQT4rI9wPOmvw9RAj8w4a2sOAGg+Z4qNdLn0Y3a81nG523UWdx1i28YKcMj0kg5ykHIyOHLiM51tr0Dq6Do2Psdew24++4pellEL8RH2VzvDuiHkm7sVl5tcqWiSVgnMxOZPNJ7XjWdQbYdC4Uta3A4ZA6A8OwcxlyTE1NiHSRG4813vSos7LtbV8y/ixhJMlCBigHyITHiPVo2a0T7SlqYfgta/E5fS/hxROS2BrHa+gQFXULPRRuLua9tF7CjsNJI6x0jJPcPaUeA9+VLz1DYhnrwRhxZBej9293WLFkNW6MI9ZRzUs81HifgOECsWSV0jruV7WhoVvVakq/a+2WbZOJ9xKAdBqVfVSM1eQouove1gu42QHtjpRM4bZj7TmZjn1aDp4qHhXgN0k6uafgHecghHae9V46tDqncCglQbKQhOEKiYKQTBy1JzioixN+Cp/NzG+duQ+qkbOuHnsZeU6owEjrFFWRxaAnKY5CsraJzb3rX2S9z2vLjfMeigL2zdlstqunChSYKVKxAg8DiJrTxXFrLFNZM1xtfLl9EQbN6SrpohLoZeSBll1ZIHemQPDDU771aK9wzc1HGwt/LW4ISVFlw5BLkAE/RWDhPhIPdXoKciqY5dDnwV5d7VZa/SOto5AqAJ8BMmvHSNaLkpkNJ0CqrzetoCW0LX9IgtoHipyMu9IVSEu1KePIG54DNXspZHbrLON5dxlbRQ7d2zSGnZkJQTguBEkpKgO3PrgBKvjWzs7aDy3+K0gduvvsSk8DWnqm6x51spUUqBCkkgpIggjIgg5gzwrdBuLhLq53W3kVYrcWhtC1LRhBVqk8weXMccuVZ+0dmtrg1r3EAG9hv97juTEE5iuQFfbu7Lbcbd2ltJSloxZA6uKBA0GonshOQyOgFZVfVSskbs6gABtmf2j3mTrnxTEMbXNM0x+6mWe8tjduptXLFDbazgbWnDiSSYT6KRhk8iY7xS8uzK6jiNTHUFzm5kG9iBmdSffBTbPDK7oyywOhQ6h9zZW0ZQZUwv76CJwq+sg58p7q36aVldStktk4eB0PmkJGGGQjgt9sr1KktPsmUFIdbPNCvSSe8EkR418/qoX0NR1dWdZva06juPkSVtRuEzM9+R57j3ozYdC0hSdCJFdVFI2Rge3Q5rKe0tcWncu6mopUIQjf3IWtbijCM5PJtvNR8CfzrlXXraqw0cbf+Ddf9R+a1haCLPdn3n6BYBcOL2rtIkyA85p7DaeA1AhAjx8a7mpmbQ0jn/tHid3n5LHiaZpQOKvr+xav755KjgtbJrCVJgRhB4kcCDzyR31gwTS7OomFovLK69j2/a3e5Pva2eUjRrR799iot0mrhtFzd2zgQ2zqlzR0ZnCQMsURyzVkRWrtN1NK+Olnbdzt4/T28vpmCqIDIwGRhyHmqHbG0nLl1bzhlSjpwA4JHcBWpSU0dNE2KMZD3fvSskpe7EVO3T3bdv7lFu1lOalxkhAOaj+AHEkeNWTSiNuIqAzNl6h3f2I1ZsIYYThQgeajxUo8VHnWC95e7E5MAWFlY1BSQVvjvwGCpm3KVOjJazmhru+kvu0HHlUC5KVFUI+q3NyzK8aceK3l43FEdp1wnTmB7ImYAAiohx0JWbje913ldK2VCOwZzCcaUwFK4BJJJcV3ggDPMRXoJJzUhrmmGNgLnJaisKUk4M8McTJEJxBSSSRwPOoy1McQ6+SahgknyY3LyV5sWwWkKwwoqKT2R1nozliGBHH2jWLW1McpGVrX1NtezM+S3qKmMDCCb3N1IY3WgDsACPWWkacwltX8VVO2s7QHwF/Uj0Xg2VBcuLST2k/JK03bbdJIS2UjRfzigo8cPbSCBzEg58qhJtKSO1ybndkLeR8FYygg3MHqpa9g27Q7amUf9NP8AOVT8aX/PzSnqhx7z8rJgU7G7gO5MX76GGyWy7n2QoJS2PEBKUFcDOBl3ipQRPnkDXBo46uPmSB32UZ5WQxl5K0HYWzbNbaHmUIcBGTihjVI1krkpVOoyiupjhjjHUaByCyzKZBe91exViiss6YNwg+hV5bo+eQJdSn9YkesBxWke8DmBT9HUYTgdoqZG7wsIA1rYVaOd21N3th/Z6nEtPNudYyVaKmZHj2lZa5giYNcztASUNb+ea0uY4WdbUdvkPQ2WhDaaLor2IzHap2yN02dnKFzfvtlTZlttEmVDQ5gFR4gAZazSlTtafaTTT0cZsci48N+mQ8e5WspmwHHKdNAgjb21Dc3Dr5EdYqQOQAwgeMACa6WipW0sDYRu/ufNZ0zzI8uWmdDW3MTLlqoypkl5qeKCYdR7yFfaNYf4jpbxioaM25ntG8d49E1QydbAd/sea17dt/0mpnD2kd6Tn+fxrH2LLhxU99M29oOf370xWsvaTjkeYV3W6kFB21cYGVEansjxOX+9IbSnMNM4jU5DmckxSx45QDpr4LLuk/afyewWhPpPqDCfqJ7ThHcTl9qq/wAO0oMrpNzeqO7XxdmrNoSdUN45+P2WW7BcubVHy5pKOrnqiVQZmDESDE8UmcjW7XNpax/5KUnFbFlft36ePFJwGWEdM0ZaIrtt7rO7acZfSbYvZOLbiFHvUBOg9YREiawpNjVtJK2aB3SBmgOo7r+hHJPNq4ZWljhhJ1VXvg43bWjFlbuBxKyXnFgjtCezpkc/4BT+yWS1NVJWTtwkdUDhlnr7zKoqi2OMRMN990DlP9f0K6a6z72Xpbos3SFhaDGmH3oW6eI9lH2QfeVVh1U3Svy0CYY2wRnSymgTpC3sLP8Adbc/PKHbUPUSeAPBR58BnqRUSUrVT9GLDX0QBsiwSEJccz9kRPa9lKdSqZ79ag65Ngst13ONkW2uwypBcuYbaSCotyIgZy6rjkPRHZH0qkGBqYZAbXVfd7PS0A8StkqBWhIOTTWQnAqQHFmBhyiY9UyvVT9E0NaLuOnvsT9JR9Ibu+EJ+2YZwfOJUsHPq0oWtIOsqKU/OLPFSvKK5uR82O4OfEkA91zkOXeuha1gbYacFJ2bbFaStC1tNk9hCcJgDLPElWAzPZGnjNUTPDThe0OcNTn8iL89/JTbpkmr95hKTM3CskwolaQSQBigFKc+7FyqyJkrjl1N/A918z424rxxG/NfbS3SEAYH3CO9baOcBK1pASNAM8orx7iXE3aPAnxAOaBpv8044Oq0SxbzpAxrV4AASfvVH+Zvc7yA9fkjTgEHbY2gh1yU4yEyOsXqonu0SNIAA1PGt+hpXRMu62e4bvrzXN7Zqmy2iZnbMqbuxvE5ZO4hKm1H51vmPaTyWPjoeBGgx1sisukqjEbHRbXaXKHUJcbUFIWApKhxBq5bgN8wnSKF6vOfS9uiLK561pMMPypIGiF+sjuGeIDlI4Vs0c+NtjqEs5uE9iz8U6hE+725L102Hittpkz21mTkYOXjzIrErttw0snQhrnP4Ace36ApqGlfKMZNhxRXsLdfZqQtwuG4DIlxxRhpPcMOSvCVcOYnArtqbVcWsa3AXaNHxHxzHOwT0VNTgEk3tqdyDt3NsJtdoouGpDKXTkdS0olJBHPAffXXOifJThkmbrC/O2ayS4Nfdui9D2znVOoM5JVgJ5pVmk+4n3CvnMZNJVNv+l2A/wBJzb8/ALdcOmiPaL941RdXXrGVDvG/2m0+yC4fL0fjWBtia0jG/tu89w6vmtCiZ1XHjYfVYX0x32K5aYGjDQkfTc7Z/dw102wqboKVo3+yfMrPrJMcxUva+7Ty7Owtm0ygEKfIUJSpWpgnMDGv4Vh021YI6yoqJD1jk0W1A+tgn30zzEyNoy3oc6SHgb1SUowJQhKE5Ri4k9+uGe6tr8PNP5MOLrlxJOd7e9e9KV9ulsBohk8v6+FbiRsjboi2B8qv0FQltgdavvIPYT97PwSRStZJgj7TkpsbicvR9YiaVTvTttNnbOPnMpEIT7Sj6I8OJ7gaFF7gxtysfs0yVuuqJUolTizmVExw8TASO4CqSS4rn3PdK65RTu9sV1ChcdWFzJ6mQFNzqUEnCVmO0DA5K9q4WtZPQR3ztdX17tW3ccaYWvqkg43Q8C0ThPYb7cYsSu1lIIQRnir3MZp3qkhv2VTtVzrrwlCxCT2VCFAhtKRzj03lHyrm9pyjpHXF7ADxuf8A1WzSM6nPNcIvXyF9WEOgZJX6AJzkAScccwQJy4Gs3oYhYuJbxGv9r8jxTWJ27NMW7TREC3U4sE48YT6Uyokk4cyZ7M61Y98gN8YA3W4btBfxsvABw9+iau3XOuQlRSlCU4w22hbkEEYSoJjPUjKJSeIBqUYZ0ZcLk3tckN3Z2vfv35rw3Bt91JVjUCSH1DWVKSykfdOOPGarGBumEeLj55L3M8fT7ocuNolxTjTGBImFraHCOKzmo6jKNM8tdqlo2loklueAP00CxdobQdC7BHbnqU0bRIThAyiIOfjNPkm91zDnOLsR1VU4jq9c0/FP+afw/Cfxc17bFpr6o66Ltu4HDaLPZXKmu5Wqk/aEqHeFc6tYbhaWz57joz3LT6mtNDu/+74vrJ1mBjjG0eS05p8J9E9xNWwSdG8OUHtuF5XUnLPLxroQqAVbbtbKcvHU24WQ2JWqTkkSASE6TmB51m7SrI6KEzkZnIdp3C/BMU8bpXYLrRN4dhI6tthdw3aWTeiQRjdOpUomBM5gDFz1gDk6DaDy900cZkmdqdzRwFvtw56U0AsGlwa0eaz/AHoRZJLabJTigAQ4pc9o5QRMd8wANK6vZpri1xqwBfQDdx93KzagRAgR962zdG++UbPtlkkksltU+0yYk95SPjXH/iGnwVDuDmnxb1vS4WjQSXjHYfXL1Wi7NfxtIVxKRPjofjWtRTdNTsk4jPnofNJTswSFqHNsKxvrHehv39o/EVz9b/GrHNPFjO49Y+i0oOpCDzPyXnHfa+66/unObqgPBJwp+AFfRKduGMBYJzN1E2dty4Y/RPLSOQMp+6cvhVdRQ01R/NYD6+OqujmkZ8JKv3t/XnWVtPNNOYklIVEFJIIxQZBPHQVlM/D0EUzZYXObY3tfW27cfVMPrnOaWuAKFBXQXWct/wChDZXVWJeI7Vwsq+ynspHvCj9qsaufiktwTEIsLrRZpNXLLOlDaHW3KLcZpaTKhzWsfkiPvmq3ussraEpxBg5qj3cAW6lLhHYyb5LUMirkVJGUcDiPKvDlolWt4b1quzVBCZJgASTyA1qbTktWEBoXe76SWi6sdu4V1qgeAIAQgj6LYSD34jxqWmSuZmLnegjaPUi6dDoThCnMKToSVpkBI9LhlBrmK4y9M/o9bjuy47lr0wb0bb9vqmrB1RLgaIYaAEhc4kxilSUKyQkjScspjWlJAAG9J1nHhoewka28e1XtvnhyC6tXlIZ9NCGwTDhSStySTiCT6xJ+lOsZ0PY18mhLssr5DsvwHdbivQSG9nFR9muKCMlvSoknCzKznljWpJTiiOQGlTma3Fo3Li7IcgCDb1XjDlr5Ji6+cUWyDhjtla8ahp2YBwNkj2c45ZU9QQBxx7hpYWB7zme9Zu06wwMwt1PHd3aJi7sgkAtAJUkQAMgR7Ku4njwJnnOwHZ5rlQ7imUvBSZA8QdQRqD3144WVbm2KiXDWUxUbqIVWHVtONlBhSVhbZ5FOYB7pjyyphrv1K+N+E9INQvQuyL5L7LbyfRcQFAcpEx4jTyq1bwIcAQpZFCkvMHSpsj5NtJ9IEJcPXI8HMz+/iHlW5SSYoh2ZJZwsUM2N+4yoraWpCoIxJOcHUVOaCOZuGRoI1sVONzmm7SmX3lLUVLUVKOpUSSfM1YxjWDC0WHYvHEnMrhJqVlErZehe9xWrzZP6J9C/suDCR4dmuW/EkeUcnAi/I5H1T1A7NzeIP1WtbsL+aKTqhZH9ec1mbDcfy5jdq1xHz9bq2vH8QOG8Khun4W4vktxfkgSPxpClvJWjte8+Ay9UzN1af/xHmvMbhJMkyTxr6Q3RYLbWTYFeqV11QvNV0DQVAhert2bLqLVhr9m0hPmAJPvk1z0rsTyU20WCsyqq1NYLtC+LrzzoMqdcJQe4mE+5AHuqo5lc/K7HKTuRDsq3RgS2pIUkAZHPSM/HvrwHO6Ac7q3vrZfVpZbfXD6g3gcHWAJgqX2jC4wJUM1HWMpq4EJ9hJFrok+U3QGSbdf21o+GBdGSYxu7PfchC6W6m7UVNo6xRX2UrlIxJaWDiKQYlK9E+R1rnNpxt6R1zYHCdOY+i2aJ5MYyzzHzUV2xl8m5dglOJOFQCMKToQpORBVIMnjppSjZrRWhbvtnrnyPYmsPWu8/RK9dtzKWx17hGSzjdwiYxYhJEckxnGkzXsbZx1n9VvDJt+zd5ocWaDM+KcuMQbJwPvBI1dUG0xGZUmUk+aTUW4S612tvwGI/P1XpJDbi58vomrNsIaSAcokZR6WeQ4ATEV0wbYALiamTpJHOtZcXCtaEsqe6XgV1mgMBzlGgV4jj3eAqdriyNck6o5EVSq1Tvt4iSOGST38T4SI8jVwOHJWXw5eK1jolvussik/q3VAeCoc/FRHlVw0WzSG8VuGSNqkmVif/ABCWEOWrwHpJW2T4EKSPiqtLZ7viaqZdVjtaZC8CVeL1KvVGy0foVuPnrtr27fH5oWn/AFGsD8RR46J193yz+Sbojhnatw2E8EreniQoecmua2XKGTTA6Eg+NynatmJjO8eCGdtuxa3Khr8nfUPdUNjEPqWHjiPi4BSrsoXDl6LzqRX0QLASWyoBKiCAr0TGRjIwe415jaSQNRqp2K4ivUKw2TZqUtslPYK04jwwzn8JpeapijuC6xXoic7MBeilb+WCf18/VQs/y1gGVqdEZTF3v1blCg3jUSCEnsJExl6SxVLqpg4+BU+hcRuWYWuzykplbQwjQup1yE5Twn3mqDWtzs1x7is1uyJM7uaryzew6u23/dJ/lH41S6uI0jd4K9mxxvkCnovx1iF/KrYFCVJAzI7USf0gz7MeZqs7Sm3Qnz+ibj2ZE3V/op423zvWR9UIH8SlVS7aNXuiPgforxQwfu81UbRvUl0L+VBSux2pbkdooVASAPRcJzB9HuqtzpqgXlZxGhF948xbvV7GMiyYfei+JumQ8VNqQuEkKU68O0qcoxSQBnmkQZ7qp6GUxYXgjgA3Qd1tctTuVuJuK4z5lSlXaSsOG7tgQCAMlATE59YCTkM/hVPRENLOjfz0vbuKlizviHvvUW4ebUQLi4beQogQlzBh5EoSrtDmSctYq1jJGi8LC0jiL37yMvBRJByeQRz9+qllu0/8QR/1if4iak2qrhuP+lLuoaM/pHiml2tsdLpX3kH+SrRXVg1Z5H6qh2y6M/3Ud3ZzBmLtOftJB/AirRtCo3xKk7GpTo4jvUVWxk4MCbtERElCgY5TJ4ZTVo2i8m5iPiqnbFhvcP8ARRl7HIEJdZIHev3egasFe3ex3l9VQ/YZOkg8EQbjbR+QdeHE9YlxSVJ6sjIiZnGU6yKvbtGPSxTUFA+JtiQUUDpHtAYWHUHvSk/wKVTDapjtLqboXBBfS9tti+tGRbKK1oeBIKVJhJQsHNQA1jKa0KKpY15J4cD8lTJE4hYy40QopOo10/EVuMcHi4S5Fk2RUlJdlJEEjUSDGokiRzzBHiDUQQSbbl4dEddDSv7+sc7d0fAH8RWXttt6N/I+hV1Kf4reY9VtNu5ClZ6pR/DXzyGQteeTP+IW29t2jm71VPt0f3K5/wDKv/ga0dhZTxg8D/yVG0P5TuY9FhGytlOXCw20AVa5kCBzz/LOu8qaqOmjL5DYcifRYUUbpHWatTsd1GzZN21xC8JKsSMoJUT2TE6GNM+WlcFU7cf+cdUU+QItY77DePNb0VCOiDH69izvfJm3afLNu1hDWS1EklSjB9Y6AZCNc+6uy2S+olgEszrl2YtawHd5rIqgxsmBm5QNgx8ptyR+ub/jFaUvwFLNOa9VL2ayr0mmz4oSfxFc8nVX7U3ft+qdwsNJVgVBSgAgwYOQ1mq3RMdq0eC9L3AZErFNmbRcVq45MjLrFaQOR5zS8lJD+weCxztCqZazz77lf2dy4f1rn3ifxmqXUNOf0BWN2tVD9XkFO2e86ouS+uErwp7LZyATM9j2iardsymIHVt3lNDbFQOHgrNAd/ap+03P4KFVnZFOdCfH7K1u2pN7R5pwB722T9hSf5zUDsZh0efAK4bZG9nn9lGs755xttwNtQtIVGNQIkTH6M86qdsR26Ty+6tG2ohq0qC5Zh9Lbr/aLikgIHotpM5Dmrmr3RSQm6Fzo48sN7neSPlwC0sOMBx3qRbXryMTeFDnVqw41KKSRCVCQEHtAEAmro9nipb0rThB3W8d+iTqdospXdG8ElfHNtPBYRhbSSkqB7StCARw0ke+r27FaMy8+ASbtuttcM81HutuPI9JxtPKEGSeQBWST3CrWbHh4ny+ipO3ZT8LB4qB/a92qT1hQngMKMR79OyO7M+FXf4ZTN3X7yqX7cn3AKBebWuAU/PLgkgwY4ZHKOIqxtDTWPUCo/xercD1h4KC7fPHV1w+Lij+dWtpoBoweASztpVZ1kPkjforsUPKuVPIS6E9UE4wFQe2TGIGDGH4UzHGxoyAT9DNLIwl7iVpTNg0n0W20+CEj8BVycWc/wDEBHyBgf8A9Sf/AG3aeoP5h5fMKqXRYBGdbCrWn7q7u2d9bNurZKXEHA5gUUhZRGcaQoETEGScxXE7X2pWbPqXMa4FpFxfMi/nluutWlpopo8RyO9NdJW7TzjjbzDQU020lBSgZpwlRyQPVhQ0mI4VZ+HdrQBhhmfZ5cTc77238ct6jX0zgcTRlZV/Q2P/ANgo8rd4/uxW7to2o38j6FJUwvK3mFsraJUfqo/hFfN2MxPPJn/ELecbNHN3qmdoMYm3m/aQ+j3orS2a/BWNH+aQeFil6oYoDyafkvN2PMH+hX0e1wueFxojq036LFiykHrbklU4yVYUhRjFmCSRAAnTPkDy834eZUVz3uGGOw0yube75LVZXujhAGbkN7ybdTdqS4Wg24BCylUhYGhgjIjxOUcq2Nn0Bo2GMPLm7r7vsk6iYTOxWsVUsPFJChqkgjxGY/CtEi+qX3r1/auhaErGigFDwImucIsbJ1OFNeIXnZyx6tx1pWRadWgHQjCYB8wBUHmxXPTXY8hWNm6tOoxjmmAr3HI+RHhVeR7FEYT2KfsnaDYBBUEkuLyV2fWPPur1zSrCDuV+y9OhmoXRdSA5Xt17dQdkK+YbA0SCn7pKfyqTjmvXL7aj5m37nY9xUPyrkKgWnl7/AJLtoDeGPu9FXuXuF14JQtausOicskpT6SiE8OddBs5tqVnveVzO1zeqOfBQdql0pDhwthBnsnErCeyrMjCISSYg6Cn24b21WYCNF18nSkkgSo6qJlR8zoO4ZVHFdVucSm3DUCVBVu0k9gn2e17s69Z8SlHrZQrhUa1NouoAEmy1XoesimzccVq68o+SQER5KSqmBot2jFogjyhNLIP+Ii8hqza4qWtf3QEj+M1o7Pb1nFVyLEDWqq0c7C6QyyWWuobRbohKgnEVAcVTMEz2jlnnzrma78Nx1GOUvcZDoTa3YLW03a5LQhrjHZoAsoe/+23F3bqEPqLICMCUrOAgoSSYBgySTTOwqCOGkYXMAfnc2z1Poq6udzpCAcla9C7ZN1cr4JtVj7ymwPhNS2+4Non8j6KFGLztC2zZVviW79HCPcCPyrjaGHHLIBuwjwFvktOokwsb23TdwjC+sH9qD5LBmi4irj2PH+8H7I+OAf0+i8ybUteqedaJ/RrUj7pj8q+kRHEwFc/ZQ1Gpr0L4mgr2y6QqhRIXp/ov2j1+zLZXFCOqV4t9j4gA+dYVS3DKfHxTTDdoRVVCkse6TNnFm96wDsXCQr7aYSoe7CfM1W8LG2jHZ4fxVHaPVQkQVP2c96acjC1a/ShX81SO4q0nRS27NkmeqRPckA+8UY3cV6HuG9P/ACBr2VffX/qoxle4yo1jYtQ4lSAcLih2pOpxDU8lCpF5yUnPPFWNgmGmEgQBcLAA4CXIA5CK5etH/US8vouzonYqeM9g9FDZczc73XP4zW5SttAwdgXLbUderf73Li4TIIOhBHvpm6z72US0US0gn0sInx0PxodYGyHjrFckcagoKv2gewuchhM16z4gpx/EFXLQpRHZJMgITxKjkPMkwBwmrgP0he2ucDd69B7A2aLe2ZZGfVoCSeZ9Y+apPnV66FjcLQ0blPoUl526c9qdbtHqwcmG0oj6Su2fgpI8q16Flo78VTIc1nQp5RXM5UIX2heLWehKzlq8c9tTLSfeVH4RXMfiZ14GxfuIHifsnaDKTFwBK2TdkSHV+0s/DP8AOsbYYDhLKP1O+/zTNdkWs4BRN4GyHSR66JHijP8AAUrtdhZUFw/U245sN/QK6jcDHY7j5HJYF0q2PV7RdUBCXQl5P2gJ/fCq7rZ0wlga4e96xJWYJC0oNp9RXIoXq+14vFsXQDtyFv2ijGP55v6wASsfdwn7JrOr48g8clZCdy2qsxXId362Cbu1UlA+dbPWNd6h6v2gSnxIPCvCLqioh6WMtWKsO+XMH8COdLkLnSC02Kn2bx6xY9qFfyn8BXh+EK2/VCtWnKjdeAqSl7Khe3TFu6Q659JKVDxHZPww1PcFMnqqysFyG+65P8ClfnXO14/jSH/L8wuw2Yb0sfviqu2USPEk+8z+dbkQtG0dgXLVzr1Lz2lOk++plKKLYjJQ5LX/ABE5e+h+qk/imLu4zwpGJXIcPE8Px7qA3eV4Gbzoqy+aPrEEmBA0EmMuZjj+FTYRfJTa6xyRb0b7DL9z16x81bnL6Th08cIOLxKOVXRtsLpughuekK1uprWUbaV8hhpx5wwhtBWo9yRJ86kAXGwQvIu1toKuHnXl+k6tSznpiMwO4aCuhY3C0NG5Lam6h1NepUIX2aF4t56MLLqNmskiC6py4P8AAg+cA+dcP+I6j+O1v7QXeAs3/cVqUDOqTxsPr5BabsBnCwjvz9/+0VPZEXR0jO3Px+1lXWPxTHwTO8TfYS5H6NQJ8DkR+FU7ZZaNs1vgIPccj45KdE7rFnELIOmTZOJlh8CS0ssrP0VdpBPIaj7VaP4bmtGYCfhNuY1B7wfJUbQb1xJxWYbJ2M9cqKGEY1DMjEkZaT2iOJrdq62GkaHzOsNNCfQJWKJ8pswIit+jS7Vmost88Syf4Un8ayH/AIoohkwOdyH1KbGz5t9kxvFuQu1YD4dS6nEEqwj0ZyBkkznlV2z9usq5zAWFptcX3+XDNRnpHRMxXuqfYe0nLW4auG8ltLCgNJ5g9ygSnwNbMjA9paUkHWN16r2JtRu6YbfaMocTiHdzB7wZBHMGsB7CxxaU2DfMKdUULKuk3dNSFKvLcdhWb6APRP7QDkfWjQ9riY8c0FZtbTA9do5oGbvMJQoiMMhRGYg+HeBw51RhvcBZzQCCAVcW16gmAoeE/lVZaRqFEtcNymheVeLxMXTkFC+Rwn6qsvxwnyqTTqFNuYIVjspcBM8Lkn/0Ff5VjVzbyOP+Uf8AILrdkOvSs5n5qnsb1OEDFMAZJBUdB7M1s4CuXna50rj2n1Ty7lZ9FEDmsx8BJ/CvLDeVThA1KhsoKivEokY9BkDkPP4xUnG1rBWOcABYJ1xxKBCQB4DTwioZlVE3zKb2Tsxy8uEstajtLVEpbByk8zrA4mO80xHHlcpmCB0mQ9hbhsjZrduyhloQhA8ydSoniSZJPfVy2mtDRhCm0KSyDp43pwtpsWz2lwt6OCQZSk/WUMXgBzp+hhuekPcq5Hblj+w9ju3bvVMgYsJVmYAA5nxy8xTlZWRUkXSy6XA8fd15FE6Q4WqPtLZzrCy28hSFjgR8QdCO8VOCoinZjicCF45jmmzgo0VcoKVs6yU8620j03FpQnxUQK8c7C0k7kL0wizCUoYb9FOBhH1WwB+MGvl20JHVNQ4DVzgwchr/ALiD3LepwIoxfcL+OnkjNCQAANAIFdc1oa0NGgWSTc3K5uGgtKknRQI99RmiEsZY7Qiy9Y4scHDcgPbOzBcMO2y4BcSWpPqrTm2r3gDyNc5smd1NUtxf0Hm34fEdUclpVcfSRG39Q79fqvO7Vw9buKwqW04klCiCQRwUMu8V9CkhinZZ7Q4a2KxWOcw3abLRdhoRe2Da7/GEW7hUHFH9KjkonMiYBOpwiDM1x9Y51DXOZQ2xSADCB8J9NM+y+llqwjpoQZd2/ihrbm03tpvpZtmyGkZNNjIADLGvgMvIDIamdijpoNlQGWd3XPxO49g3n56nsVmkdUODGDLcFR7a2W5aulp2MQggjRQPEaZajyNalHWRVcQlj09OwpWWF0bsLkd9D2+4tXfkz6oYdV2VE5NrOWfJKsgeRg8zVdZT4xibqPNEbrZFb+FVkphI50IWXb49H6kYnbNOJBzWwNU8+r5p+hw4TkKg5t896y6mhzxx+CArV4SULzjLtDPI6GeI0Iqp7SMws83ab6KeltHsJ8hFQxu4oxu4p3qWyIwjOjG4b0B7hvT+yn8LRyAKFmYEZhh7PzifOs+sbeXmB/yC6rZTrwd59E3bumAKeXJuNySvq3a8Xir034E55lRyGusflVhYSrS0lWOwdiXF8qGRgbBhbyhkOYEaq+iDPMpq5kQGZV8FMZD81sG7mwWbNoNMjvUo+ktXtKPPu0FWE3WwyMMFgrWaFNUO+e9Dez7ZTzmatG0TBWrgPDiTwFWwxGV2EKLjhF15d2rtFy4eW86SpbiipR5k8O4RkByit9jAxoaEvrmUU2G4dwltFwbhq3yCpUpSSidJUBAMd9c7Nt+ndI6ARufuyAN+5PMopAA/EAjG1wPtdTtB+yuEjRaXAFg6d2feCPOsGXpIZeloo5WHgW3HvsIPcng0PbhlLT23WZ72bNZt7gt27vWogGcjhn1cQyUeOg1rsdmVM1RAHzswnvz7bHRZNRG2N9mm6KehvY5XcLu1CU26Yby1dX2Ugc4TJ+7S+3Kz8vTHDqchz3ealSxdJKBu3rb9hW+J0nVLQwg81GZP4/CuM2VT46rFujFu86+d/JadW/DHbe7Pu92RJXUrLSoQhzb9pDmIZJc7JPJQ9E/131ze1afBMHjIPyvwcPhPy5XWnSS3Zh3tz5jf75LEel7YOB9N2kQh/sufRdAz8MQGLxCq6vYtd+YgF/iGRHAjX32rMqoejksNDmFQbA669LNip8IaSVKAPHjA9ojMgcM+VSruhoQ+tbHd5sPfAce5ShLprRXsFd7a3iasEqs7BGFaTDjqh2pHKdT9LQcBoazaPZsleRV1rrg5taNLd3prxKYknbAOjiGe8pq9xXOx+vuAS4wsJacPpLSVJSZPHUieJQDzqcOGl2t0UHwvF3DcDYnu08148mSnxO1Gh4oDBrpwkCMls3RX0kiE2l4vMQll1R15IWefAK46HhOZV0n62d4VjH7itiSuazVaupoQh/ePc+2vO04jC7wdRkrz4KHcoGvbqmWBkmoQHtTo+vGs2Ch9PKcC/crs/veVV9E071nP2e4fCbqhetrlo/O2zyO8oMfeiPjUTAdyXdTvbqPJN2tyCh46eY/ZPDh40lURkSNB99Zq29luw07xwJ/4pq2W6sQ2gqn2ErX8EineiPA+iwmxk6AlXFluhfvj9GpAPrOnqwPs5ufCpCMDW3r9leykldutzRdu/wBGLLUG4WXj7IGFHmJlXmQDyqzK6fZRsBu7NHbLKUJCUgJSBAAEADkANKE0Mk5QvVUbzbws2LJefVAGSUj0lq4JSOJ/DUwKnFE6R2Fq8JAFyvNO9+9D1/cF53JIkNtj0W08hzJ4nieQAFbsMLYm2CXLsRzT2725b92jrcSW2tAtZPa4ZAaicpy86za/bUFI/o7FzuA3c0xDSPkF9ArzrNobIgLwvWxyiSUeGYlsxw9HxrNA2fte+HqyeB+h9eSYJmpdc2qBt7+zbhlb7BNu+mJYjJROWQmO+UnIZlNN0Q2lTzCGXrsP6uHPf49xVcvQPZjZkeCEGmSpQSkFSiQAAJJJMADxNbxNsykl6K3a2MLG1bYEY0dpwj1nljPxCBkPAV8725X9LOSNGZD+o6f6RnzWzRQ4WZ6nXl9/RHmx7Pqmgnic1eJ/y0rT2bS/lqdrDrqeZ+miUqZekkJ3blNp9UJUIUe/tQ6hSDxGR5HgaWq6ZtRC6J2/yO5WQyGN4cED7b2Um5Zdt38gvsLPFCx6Dg89eefOsLZ1Y+lnxPyzwv7DudycMieOfBaNRCJWWbzb8x3fZeer+0dtLhTa5Q8yvhwIzChzGhHMV9CGCaPMXB3LDBLTcIs//KNnv4Xby2Uq4SACUeiuNDGMA+CgeUmuc/wnaNPeKklAjOl9R5Hy5rR6eB/Wkbn6p8Pu7XWE4fk9ixmqCOAMZxGLDw0SM88pqLItjsvfHO/T3ra/e4+UruqTYZNHv3wTfSOi1SzbpbbwOR83GRDWcFYj1jmJz1OsipbAdVOmkdI67d+/rdnIZG2WnYVGrbEGNwjP5IDdbKTCklJyyII1EgkHmM66lrmuF2m6zrFaRuD0ouWwSzd4nWdErGa2xpB9tI944TkKTnow/rMyPqrGyWyctw2XtNq4bS4y4lxCtFJMjw7j3HOspzHNNnBXKaDUV6vtCF8ihCBt+E/36wHtrAPk4n8lGlpWYpGngrGOsCjoUyql9FCF9r1C+E14hBe+3SLbWAKAQ9ccGkH0T/iH1fDXu40zBSvlz0HFRc4Bef8AeTeN+9dLtwvErRKRklA9lI4D4niTW1FC2NtmqgkuzKqFJ5jXSphwQtB6TLdXU2i2s7UNAJw+iDwJjmmAPA865f8AD8jRLM2T+bfPiR/fXuT9aDhbh+Ffeja8W83c2r0rtw0TKj6Ggwg8ARJHLDIqO3oWQyRVMWUmLx96dt17SPL2ujdpZZ6K6pZy0zog3Zlfy5xMhBKbdJ9dzQr8Efj4Vhbc2gaeLAzNzsgO33mfumaWHpH3doNVsexrXrHJ1Q3x9pR1P5+AFcfs6mFRUB2rI9/7nHU/PkAtOpk6Nlt7vIe/mieurWUlQhKhCVCFS7esv1qRMCHE+0nn4j/LlWHtalt/1DRfKzxxb9Rx5Hcn6SX/ALZPI8D9/eqzPpI3R+WNB5kYrhpGUDN5ocI/aJ4DxHKn9hbSwn8vIb72niOPMaEfRU1sH/daOY4FYia69Zy0vdu+F8W7ZpoM2rCAt5sGS6rgnPVBVmZ146iuM2hAaAOqHuxSvJDXftHHnbIW03LVheJbMAs0a9qn2Fg27drdOG4uAZcXqxbAaITPprH5EnDxVmnlipmxi7Gbh+uTiTwB+2asDGukLjmfIfX3ohze+/TtG7at7ZKVEHD13FXtGf2acz35x36+zKd2zaV81QSL54eHDvOnqlp3iaQNYO9Ce2tmKtnlsrKSpGpSZGefl4Vu0lS2pibK0EA8UpIwscQU9sPb9xaOY7d1TauIGio4KSclDxFXSRNkFnBRDiNFqW7nTUkwm8ZIP7RnMeJQTI8ifCs6XZ51YfFWCQLRNj752VzHU3LRJ0SVYVfdVB+FJPgkZqFYDdXwXVSEJ72NYr7Zh5OufBIV/LUHfEF6CiwLqa8TF5tFtpOJ1xDaRqVqCR7ya9DS7IBCDdu9LOz2JCHC+scGhI++YTHgTTUdFK7UWUS8BZfvP0r3l0Choi3bPBskrPi5kfugU/FRRszOarMhOiBW0KWoJSCpSjkkAkk+AzJptzmsbicbAb1AC5RLd7mKYtlP3TyGVx80zqpR5GDllymJExWPHtgT1Aip2Fzf1O3D357rpk0xazE827Fd7KQ3tSxFv2G7u2TLcAAKT4DgcgqNDB4xWbU9Jsus6fMxPOfYftqOy47VezDPFh/UFSbvb3PWQXbuth1oEhTS8ikz2gMjAnVJBHhnWjWbJhrSJo3YXZWcN/D+91VHUmMYHC44Lrbe+eNlTFswi2aX6eCJX3ZJAHfqe+K8pNjdHKJp5DI4aX0HiT73IkqgW4WNsFD3L3YXf3AbEpbT2nnOCEf6joB+QNaNXVMp4i9x0SzGF7sLV6AtbUJS2yynCMIQ2j2Ecz9IjMnlPOvm9VPLVzXHxvyaP2tOp5u8hzC3Io2Qs7Br2n7eqMLG1DSAhPDjzPOuopaZlNEI27vNZcshkcXFP0wq0qEJUISoQkaEIZ2nY9SqRk2TKSP1av8ASf60z5atpDSvxNyYTcH9jv8A5O8fMZ6sM3Stsfi3j9w+qyjpL3Fx47u2RCx2rhpPH/Fb5g6qHnzrqdj7W6UdFNk8ewR2Hcs6pp+j6zfhPksqbdUjNClJJBBwkjI6gxwPKt97GuHWAKVYSCiPam9uK0btLZvqG8PzsGSs8RPsnUzmdNBnk0+ycNS6pndjdfq9g+vDhrro06fqBjRYb1e7rsjZ1gu/cA654YWEnkdPfGI/RA51mbQedo1raNnwNzcfXw0HaVdCBFGZDqdFP6MdnpDbl3cdpVy51SMUHFJlRjjiUDP1DVO3pndI2mhyDBiNt1hl4DTmpUrBYvdvyQ1YbpG6vrtkKDTbKnCVYZCQFEJESMoz8Aa2JtqCmpIpCMTnBuXHLP3xKUbAXyOAyAuhlmyW4V9UhbiUZkoSowOBMDIHvrVdMxlsZAJ4kKnCTomkNzrpVqgXKxtLx9ofNPutj6Dik/gag5jXagLzpXDerBveO6wnFdvqWmC0pTiyUnRRSScpTIpeSmY57CGiwvfw+qm2Y2N0w/vBeK9K7uT3F5cfjV/Qx/tHgo9K471VPAqJUtRUeZM/E1PTReF5KaKaEAom3a3HevGHHm1oASVJSkzKlAAxyAM6z5Vk122IaSZsTwc7G/AFMxU7pG4go27+8bliHkIaQHlGMa09puJChH5HIEaGrazZ8dcWOc44RuByPBEUxivYZoqvU/2ts0OjO8tRCxxWNTkPaAxDL0gQNaxov/yq7oz/ACpNOz+2h7CCUy89PFi/UFn2ytouW7qHmjC0GRyPMHmCMjXSVMEdRGY3jIpNjyw3Ct99tts3byXWmi2ooAcJI7Su4DkMsXHLIRmlsqimpIjHI7EL5dg++ttysqJWyOuBzUTdvYD168llkSTmon0UJ4qUeAH+1PzzNiYXOKoALjYLfthbHZs2EstCUzMkdp5ftq+iNAPKvne1NpGqdi1Zfqt/ef8A5HmfLapqfoxbfvPAfX09TDY2zurBWvNxWp5d1aWzKEwgyy5yO17Oz6/ZK1M+M4W/CFZ1qpVKhCVCEqEJUISoQuXWwoFKhIORFRexr2lrhcFetcWm4Q1eWRZIzOCewvin6Kuaf67q5eppX0jgb9UfC/8Ab/ldxafLyWpHKJgcs9449o7VlvSD0ddZiuLNADnpO26fW442efPB7uR6nZW2BJ/BnyePdxxHp5rNqKbo+uzNvoshWkgkHUZRxroxbVLXurbbG33rvqkvrGFsYQQmAJ1UQnUxGnADKkqWghpcboW5uzOfln8+KtfK59g5GW2tvNfKdm29qsKYYU0ZByUSoJz7wmZ71msSlopfy9TPUCz3h2XAW+voEy+QY2MboLK137WmytrkIPzt86qeYRAxDwjLxWaQ2OHVtRGXDqxNHju8/wDiram0TDxcffvtVPugfk2yL650U782g/uAj7S1e6tDaP8A1G04afc3rH19APFUwjBA5/FRNyti2/yN+9uWlvhpeBLSCeASSogET6XHIAE0xtOtqPzTKSBwYXC+I9+Xl42UIYmGMyPzsnNqbNsrmycu7JKmVsn5xpSpBGUkSTGRkEciIqNPVVlPVNpqohwdo4C3yHveh8Mb4y+PK2oX3dvd3Z1yGWzdu/KHEyW0gABQTiUMRbIyAPGiv2jX02N4iGAHUndewyvdew00L7dbM7lC3rsdnMIcQw8+q5bXhKVjLIwr9WB5zV+z6mvnc18rGiMi9xrmMt5Vc0ELLhrjfh7CJt4XbHZybct2Db3XpxJU4oqjT2gok9ocqyqP87XukD5y3CbEAW9LcEzI2GECzb3VV0iWrKrW0ukspt3nclNAASIJkiBMEDOBkoTwpvY00wqJadz8bW6O198uxVVMbMDXgWvuVjuW2+dkzaCXxc4k5gAwUTikjLDIPdSe1HQDaVqj4Cy3ra3bfRXU4f0F2a3XXSZusXEG8aSA6lI+UtpM8BKgRxTxyzEHhmbC2mI3/lZD1T8BOXd37u3JeVlPcdIO9Au6u8i7F/rUjGkpKVomAocM4yIMGY5866LaOz2VsPRuNjqDwSkEpidcKsvbjrXXHAgIxqKsKZhMmYE01DH0cbWE3sLXO9VPIJurXdTdZ++dwMiEpzcdV6DY5nv5J1PvNQqKmOBhfIUNaXmw1W7bA2GxZMhplJwn0lH031c1ckToPzr5/tPajqvN1+j3N3v+Yb689Ninpuj0+LeeH398yzZOzSD1jnp+qOCR/XuprZ2znNd08/x7huaPfgqqioBGBmnqrettJJUISoQlQhKhCVCEqEJUIXK0AggiQdQai5rXgtcLgr0Eg3Cob7ZpbzTKmxmI9JvvTzHd/wDdc7VbPdBmy5YMxb4mcuI4j+60IqgSZHJ3kefv6IF303EYvh1oKWrg6PJHYc7nUj0VfS15zFaWztuuhAbUG7To8aHn+08QfJUTUdyTHrvasW3g3duLJzBctqQT6KtUrHNKhkofEcYrsIpmStu0rPOtiq1pwpIUDBSQQeR1mrHNDgQd6NDcKz25t567UhT6wShOEQAJ4kwMpPEjupSjoYaQFsIsCbqySV0hGJEG8e2WP7Ls7VhzEoHE8ACIUASQZAmVrMcDhrMoaOb/ABGaombYaN5f2Hmr5ZG9C1jVY7v2t3ZWjV5ZLNwh0/PMBsqCSJBORmRESAOEyKXrJKWsqXUtU3AW/C69r+It69ilF0kTA9mYO5Pb5WDL+zxfG2+Sv4wkoiMcqgyIE5doGAcjrVey55oK40fSdIy178Mu/la69nYx0fSAWKG+jdUbStvFQ96FitXbgvQSd3qFRS5TD3uUXflGHaN0P8Un35/nVmyXYqKI9g8slGoH8R3NH53jeY2LaXDARiTDKitM4QnEiRmOKU++uc/w+KbassMpNj1hY2vex+ZT3TObA1zR2Kt2ltD+0djuPPdX8pYcyOSSRkTGehQo5cSnnTUFOdn7TEUV+jeOfvMa9qre8TQ4jqFSWW9KGtlKtm1OJuFOFWJGUDEnVUg5gRA86fl2Y6baIqHgFgFrHO+R3diqbPhhwA5qh2dt24tw4GXVIDnpxBxa5yRke8Voz0VPOWmVgOHTsVLJntvY6quKaaKqutD3P6MXnsLt3iYZOYRHzrn1Un0AeZ8hxrI2htiClba93HQDMnlx95q6KnfLppxWwWNghlCWGWglKfQZTmAfacV6yucnxriqyrmqpcMgxO3RjQdrz/67t9lqQxMjbcZDe7jyRBs3ZeA43DicPHgnwrUodm9E7ppjik47hy98rJaepxDAzJvqrOtZKpUISoQlQhKhCVCEqEJUISoQlQhKhCrrvZYJKkHCo6iJSr6w/Osyo2a1xL4jhcdRa7Xcx89UzHUkDC/MeY5FUW0bBKkFl9tBQrVt0Ym1d6FeqfwrMjlnoX2acH+Um7D/AEu3cjxzTLmsmFzn2jUcx9Fm28nRI2olVm4WVfsXySn7DoEx9YHxro6X8QsuGVIwO7d/I6Hy5JJ9I4Zs6w81nG3N17uzP94t1oA0XEoPgtMp+NdDFPHJ8JSmhsVTA1chWuxdv3FrPUOqbB1GRSTzKVAie+JpOqoKaqt0zAbePiM1bHM+P4Sndt7x3N3h690rCT2RAAHfhSAJ7zJryk2dTUl+hba+/MnzXksz5PiKj7KvlW7yHm4xoMpxZjSMxPKrqmnZUROifodVBkhY4OCW1r1dw8t9yMazJgQNAMhnyrynp2U8QiZoF5JIXuxFcq2m91PUdYrqQcXVzCZ1kjjnnXv5aLpemwjFpfepY3YcN8lCXFXKC6ZaUtQShJUo5BKQST3AASa8JAzKEa7C6Lbx6Fv4bVs8XfTI7mh2p+thrNrNrU1KLvd798FbHC+T4QtR3c3KtLGFoRLn7d+FL/6aNE+OvfXMV23J5W5fw28TqeTdTzOSeipGg59Y8Bp4oqtLJbmYlAOq1emrw9kf1nWdT0c85xNu0HV7s3u5cBy8SrpJWMyOZ4DQfVXVnZIaEIHieJ8TW9S0cNM3DGOZ3nmkpZnyG7lIppVJUISoQlQhKhCVCEqEJUISoQlQhKhCVCEqELlaARBAIOoNRcxrxhcLhegkG4Vc9sgfq1YR7KhiT7jp5VmSbLaBaI2H7T1m+B07imW1R/WL9uhVe5aLQCMKkg64O2k+KDnFZ35eopvhDm/0nG3/AEnMJjHHJqQeeR8dENbS3NsLkkrtmCr2miWVzzIEAnxBp2DbdW3IFr+y+E+Dvkqn0ceubfMeSGL/AKHrYz1b1yz9dCXE/u4TWo38Rlv86Jw/8TbxF1QaMn4Xgqlf6IF/q75k/XQtH5Kq+P8AEtE79Xy9bKJopxo3zUY9El3wubOP+Yv/AOKmP8foP3jxH1UPyk37SnG+iK49a7tUjuU4o/wCoO/EVCP1jxCBSTk/D78FY2fQ+ifnL1SuYaYJnwUpX5UsfxPTHKMFx7AT8lZ+Rl32HeiKw6LbBrNbTzve+6ED7qMOXdSk236ki7IsI4uIb63U20bN7r8hdFOzLJpkYLdtDY4ptmgCfFcT51jybQqKg4TIT2Rgn/cdOYTLadkeeG3a4/JWlvs1w5wG+8nGv36Cpw7OnccQAZ2nrv8AE5DuXj54xlfF2aBWNrsxCDMFSvaVmf8AatOn2bBC7HbE79xzKWkqHvFtBwCm0+qEqEJUISoQlQhKhCVCEqEJUISoQlQhKhCVCEqEJUISoQlQhKhCaet0L9JKVeIBqqWCKX+Y0HmLqbZHN+E2UU7Jb9XEj6qiPzpT/DIB8GJvJxHzsrfzL/1WPMBRLu1KNHFn62E/imlZ6d0YykceeE+rVdHIHatHn9VT3F2tJiRpxSn/AE1z1VWTRPsCNP2s/wDlPMhY4X+Z+qkWjqlAdqJnRKR/LTlHLLK0Eute+jWj/wBVVIxrTp5n6q2a2aFCVOOnuxQPgK2mUGMXdI89mKw8gEk6fCbBrfBPt7KZHqAn6Xa/GrmbLpGG+AE9ufrdQNTKd/yUxKQMgIHdTzWhosAqSSdV9r1eJUISoQlQhKhCVCEqEJUISoQlQhf/2Q==">
            <a:extLst>
              <a:ext uri="{FF2B5EF4-FFF2-40B4-BE49-F238E27FC236}">
                <a16:creationId xmlns:a16="http://schemas.microsoft.com/office/drawing/2014/main" id="{5FFD1C9C-B208-4981-87B3-38461E561171}"/>
              </a:ext>
            </a:extLst>
          </p:cNvPr>
          <p:cNvSpPr>
            <a:spLocks noChangeAspect="1" noChangeArrowheads="1"/>
          </p:cNvSpPr>
          <p:nvPr/>
        </p:nvSpPr>
        <p:spPr bwMode="auto">
          <a:xfrm>
            <a:off x="1259681" y="-108347"/>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endParaRPr lang="en-GB" altLang="nl-NL" sz="1350" dirty="0"/>
          </a:p>
        </p:txBody>
      </p:sp>
      <p:sp>
        <p:nvSpPr>
          <p:cNvPr id="37892" name="AutoShape 6" descr="data:image/jpeg;base64,/9j/4AAQSkZJRgABAQAAAQABAAD/2wCEAAkGBxQTEhQUExQWFhUWGB0ZFxgYGBwdHxofHR8eHB8cHBwcHCgkHBwmHR0fITEhJikrMC4uHx8zODMsNyktLisBCgoKDg0OGxAQGywmICY0LCwvLDQsLCw0LDQsLDQsLDQ0NCwsLCw0NCwsLCwsLCwsLCw0LC8sLCwsLCwsLDQsLP/AABEIAOQA3QMBEQACEQEDEQH/xAAcAAABBQEBAQAAAAAAAAAAAAAGAAMEBQcCCAH/xABNEAABAwIDBAYFCAcGBAYDAAABAgMRAAQSITEFBkFRBxMiYXGBMkJSkaEUI2JygpKxwTNDU6KywvAVJGPR0uEIc4OTVHSjs9PxFiVk/8QAGwEAAgMBAQEAAAAAAAAAAAAAAAQCAwUGAQf/xAA/EQABAwIDBAgEBAQFBQEAAAABAAIDBBESITEFQVFxEyJhgZGhsfAywdHhBhRCUiMzcvEVYpKisiRDgsLSJf/aAAwDAQACEQMRAD8A3GhCVCEqEJUISoQlQhKhCVCF8JivCQMyhQl7UR6srI9kSPvHL40k7aEX/bu7lp4/D5q8U7/1Zc/pqoLu2VTAKE92az+7A+NZ79rOJsC0HgLvP+2w8ymG0o1Nz/tHnn5Jh+8ciVFwDmooaHvOfxqHS1cvwtkP+lnyJ81LDE3XD5u+yprrea1SYXdWwPJV1iPmEqq0bPrni/R+L3n0yXnTRD9Xg0BQlb32HG6s/e4a8Oxa13xRR/7z6r381GNHO8l21vZYnS6s/wDurR+MUDZFc3/ts7i8ehR+ZiP6neDSrSy2w25+heQv/lXSVfAk1F9PWxHON45SH0ddAfE7eO9v0Vj/AGg4jVSh/wAxuR95EVX+eni+MuH9bLjxZb0XvQRv0A7nfIqVb7YJ1QFd7agr90wach2mXatDu1pxeRs7yKpfSgaG3MW89FOtr9teSVCfZOR9xzp6GshmNmOz4aHwOaofC9mZGXFSaZVSVCEqEJUISoQlQhKhCVCEqEJUISoQlQhKhCVCEqEL4pQAk5AV4SALlegXyCrLna4jsRHtqyT5DVXlWTPtRobeO1v3HId293d4pplKb9bXgNfoFRbY2shpHWXLqUI4KeMA/UaGaj5E0nHDVVruq0u7XZDuYPIuuri+OLfbsGvj9Fnu3elthPZt2l3BGi3Tgb8Q2nMjuOGtyH8OB1jUvLuzd4DL1Szq238sW9fFBW1OknaDsgPdSkj0WEhv94dv96tyDZ1NCLMYPfklHTPfmShi5uHHTicWtavaWoqPvJpsNDcgFWXLgNVJRul1dCLpFvKhF04LFwo6wNrLYyx4DhkajFETVRmjD+jLhi4Xz8FOzrXtkp2yt4bu3jqLl1scEhZw/dJj4UOijf8AEAvA8hFmyule5SQLhpq4A9YDq1+OJGX7tZVTsGjmzw2PEfax80yyslZvR9sTpBsrqE9b1a+Ddzl914ZeEkVh1ewqlg6pEg4O1HJws4JuKrYdcuX00Rpb3ziIEnuQ4dfqucfOs6Osnp3YCT/S/wD9X6eKtdEyQX8x8x9FbWm0ErOHNK/ZVkfLn5VsU9dHM7Abtd+05Hu49yTkgcwX1HEKZTqpSoQlQhKhCVCEqEJUISoQlQhKhCVCEqEKNeXqW4nNR9FI1P8At30rU1bILA5uOjRqfe8q2KFz+W8oe2jtCQpbqkBCM1FRhpv6x9dVYZfPWyYWjEeH6G8/3Hy7E8AyFt9PU/QLLN6ulYAlFiMStDcOp8vmmzknxUPKulodgMY7pag4ndu7luHd4pGWsLhhZkFntsxdbRuCApTzyhJUtegB1lRySJ0HkK2KmpgooscmTeW/uS7I3SusFH2xspy1dUy8nCpPuUOCkmM0n/PQzUqSriqohLEbg+XYVGWN0bsJRfurZt3Gyb5HVo65rthYSMeEALAmJIlCh51h7Rmkp9pwPxHA7K18r6Hs3hNwta+BwtmEDNmulSBTmOheJY+6heWUnZFgu5ebYbzUsxPADio9wEml6qpZTROlfoPPgO9WRRF7w0LXkuslm82bbxht7Upxc1qC8U8zMEnmTyrhcEolhr5tXvvbsFrfO3ZZbHVwuibuCzHcGwauL1tl9OJC0rBEkaIJEEZ6iuu2xUSU9I6SI2It623rOpo2ukDXDJN/2Ap7aDlowMg84hJVnhSlRGJR5ADz86ka9sNE2pm/a08yRuXghLpSxvEqt2xs9Vu8tlakKUgwooMieIkgaaaZQabpqgVETZWggHMX1+arkZgcWq63X33u7OEoVjZ4sudpHkJlB70kd9VVVDBUtwyNBXrJXRm4K1/dTfS2vgEI7Dv/AIdxWc/4LnreGR7q5Gv2HLTj+H12D9J1H9J1HLTmtKGra89bI8ePMIzs9qlHpytAyKo7SPrjiO+laXaTohaQlzRqbdZv9Q+fzyUpKYO+HI+R5fRXjbgUAQQQdCK6Bj2vaHNNwUgWlpsV1Ul4lQhKhCVCEqEJUISoQlQhKhCr9pbSwdlEFcTnokc1Hl3VnVtcIf4bLF/k0cT2eqZggx9Z2nr2BBm8W8bNo2XX1ntThSP0jxHBI9VsZZ6DLuFZ1Ds+WucTc4Tq46v+jeAH9mZpmQi2/cNw+pWJ7w7yXe03UownDPzVu3OFPf8ASVGqz36Cu1igp6CG+TWjfp796rLc58z+JKe2l0eXbLBePVqwjEtCVEqSNT6sGNTB8JrPp/xHSTTCIXF8gSMj538le+ikY3EV10VP4dotj20OJ/dxflXv4jZioHHgQfO3zRRG0wCOntjL2iw61dtqbcZcWm3fMSoSQDGpBAAPBQggzXNtrY9nztlpnBzXAF7Buy8OXDMHJOmIzMLXixGhQ10coXZ7QdtbgBPWNlJB0OHtAg8UlOLOtjbjmVlCypgzsQfHI997JWkBjlMbt6ZO62zbcn5TtDFB9BkAkdxjFn5CrW7T2lOB0FPbtd97fNeOp4WfG/wQJkDlmBoeeescK6QG4zSDgvs5V6vEVbmbxMWLb68C1XSk4WiQCgDLInFOuZy0SBWJtTZ01bIxuICMG5Gdz5W0yHNN087Imk/qRbuTvwbl8t3LbDZUg/ODsFWY7BxEzMk68NKxNq7E/LRB9OXGxHV1t25JunqxI4h1uaEOj5rBtVhPsrcT4whYrc207Hs17uIafMJSkymA96Io2u8NlouXRHyy8dcLfEttlZIV8Qe8kD1TWLSsO1Hxxn+VEG3/AMzrexyvxTchEAcf1Ov3BUvRjspK3XLx/wDRW4KipWcriSe/CnPxKa0PxBUubG2kh+J9h3fc5crqijYCTI7QIS2teh1510ISgLUVBKQAEg6DLLTXvmt2miMMLYySbC1zndJyOxuJCV3ZPMlBcbW2VAKRiBTPGQf6iiKeKYHo3A2yNjdDmOZqLLSdyOk0yhm/Xn6KLnUjkl72k/S15zmRjbT2I2Y9LD1Xjf71HYfsmoKot6rswtYs7tTZlMEEYigGUqBzxtn4x/Q5OGWWjlLQ2x/Uzcf8zPmPplovY2VoueTvkfr7JHa3CXEhSTIP9Qa6SCeOdgfGbhZskbmOwuTtXKCVCEqEJUISoQlQhKhCr9qX+AYUxjIkTokcVHuFZ9dW9CMDPjPgBxPYPNM08OPrO09ewIC3u3masWesc7alz1Tc9p5Q9dfJsf1rSOy9mOrXYnXwXvnq88T2cB7LNRUdFkPi9OwfMrErly72k668Qp1aU4lxohI0SkaAckjM56512b56ejDWvIbc2Hafe/QLKDHykkC9kU9GN6hTb9sgpZulpJbeiSoRoZn0TnA1GeoJrnvxFA9skdQ+7ohbE3cPDjx49hT1C4YSwZO3FTNjMs7N6z5ddEv3ScK0IJWUA+uo5yrPU98TVNU+baeH8pEOjjNwTlcjcNMuzxspsDYb9K7NyrhsROzNpW7xUfkhJKXTnEoUMJw6nORAzGnGG/zjtqUEkIH8UWBb3jPP2FV0Ygma7dxVBvZvCu4ulrbecLaVyzJIwxoQnge/WtXZuz2U9MI3MFyLO335neqJ53Ofe/JV21tpvXKgt9xTi44xkOQAEATypympYaZuGFoAVD5XvN3FRUtimLKvNfSkULzNWWxLLrOuymGjHcTofgaQrp+iwZ/qHhvTEEePFyVelYNPpYhdCKF4U/YbQUw6l1o4VoMpMAxw0IjQkVTPAydhjkFwdQpRvex2Juq+bc2m7cuqeeOJZgcgABACRwH+Z51ClpoqaMRRCwCtfK6R2JyM7+8QqwttnbOPXLd7T2EEGQQTimMIKueiUjgawIoXMrJK6t6obk3f4ccvMlOucDG2KLPirKz3Yb2Vbm7faNy+nMJSJQ2dZPhxWRllA4lOTaUm1Jvy0TujYd51d/fh4qxsDYG43C59FE6W9or6uzZcI6wp610DIBUYRA5TjGfKr/w3Ts6SaVnw3wjlr9FGucSGtOupQW5u7cJtU3eEKZUSJSZKYMSoDQE8e7OMp3xtGA1JpibPHHK/Lj7tdJ9A7Bj3In6PN/TbFNvcqKraewrVTB9pPNE6p8x3rbU2VHWMuMnDMEa3U4KgxHs3rbrS6LasaYVIClBJ7LiTmHEcP68a4lkk1FM4kZj4m7nD9w7RvH3tqFrJmAbtx4Hgfkia3eStIUkyDpXTwzMlYHsNwVmPYWOwu1TlWKKVCEqEJUISoQo1/dhpBUczokcydBStXUinjLzmdAOJ3BWwxGR1vFBG8e227Vly4fMgHMA5uueq2n6I4+BPAVi0NFJXTkOzF7uPE/tH+Vvn4WfmlELBh7hw7eZWA7Q2k5f3fWXLqUFxQBUZwtp4ADgkDQeZOZNd48fl4D0bb2Gg3+/7LIaMbhiNu1Hu2NiPgNbOskFu3WnE9cEzj9rER3Rl62QEJBrj6SugJfXVTsUgNms4cLD57tTmVqSQvFooxZu8+/fcg/aFklF6hGzFOuLbAOIQZWn0inmnLPhMgZRXQwTPdSF+0MLQ7dpkdAe32c0k5oElobmymb+bXtrtDD6QUXUYHm4MAJkSTznTjBz0qnY9HUUb3xHOLVp5/bXt01UqiRkgDhrvQm/dLWEha1KCBhQFEnCOQB0HdW2yNjSS0AXzPalSTvTSTVigQrnYO7N3eH+7MLWNCuISPFaoT5TNVSTsZ8RQG3K0LY/Qk8qDc3KG+aWklZ+8qAD5Gk37RH6QrBEd6JWeiHZrKSp5bqgMypx0ISPNITHvpZ+0JOwKYiCrbDZ1kw658mSgILiU/pOsxIE9vEVHJRnQ5QBrNcvtetnkks7QAkdpWpSwta3t3p7YO4myrlOFaQl0lWEJfIWtOoX1eM4cjpA0mADW7S19QY29IbOtpkkZoWBxw6LraHQjbmSxcvNnhjCXB8Ak/Gn27QePiASxiG5BW3eifaDEqbCLhI/ZntR3oVB8gVUzHWxu1yUDEQga6aUhRQtCkLGRSpOEjxB0NONIIuFCy+2V64ysONLLa06KSYP+47jrUJYmStLHi4O5Ta5zTdpRJuPvI8i9QV3BS26uXi4ZSrI5mdDoArKMuGVZO1tnxSUhDY7uaOrbUcvW3zTNPM4SZnI6pjpI2j120HiCCluG0/ZGf75VU9h0/Q0TAdTme/TysvKt+OU+CLd3GxsmyW9dFRU/6FtOuXFJyCiPSPAQNcqw65x2vViGnsAzV/vy4nPRNxAU0Zc/fu9+aDd7GbPG27ZOHC6CpTJBlojUd059nukGCK3tmOrA10dU3NuQd+73x8RcFJ1IjydHv3cEV9Fu+nVqRZvrhtSvmHCf0Sz6p/w1H3HuJinbGyxUs6RmT25g+/Ne005jNjoVsmzrzqlmRCCqFp9hXMfRP9aZ8dR1RpZOsLNJs4fsdx5H3pnpzRdK3LXUHiPqPeqJq6pZSVCEqEJUISNCELbQvOsXiBASJCCdEpHpuHlpl/tXLTzPrJx0e+4Z2D9TvkPqFrRsEMfW5n5D6rAt9dvr2ldoaYBLKT1dujQmdVnkVHMk6ADka7elgh2fTZ5AC59+7lZL3vnkvvKnjdjZrShb3F0sXEDEQYQkkTElBA+0Z8JrG/xTakzTPBCOj3A6kcdb+A8U7+XgacDn9by9Fa21wux/uN6ortHgUsvglOEHLAoz2Rn5d40Texlf/wBZSC0rc3M1v2jj8+eswTD/AApT1ToffvuVXtfaDOy2121mrHcL/SvGJQOCUxlMe7XXTQpKebajxUVYswfCzj2n3ny1pke2AYGZneVn6lSSTmTnPOuoAsLJG6sNhbDfu3Q1btlazrySOajokeNQkkawXcV4DfJbdud0Q27AS5eRcO64f1aTyg5r8VZd1Zc1a52TMgrAzitLaaCQEpAAGQAEAdwApJWLuKEIP3lSt68aYThyQFoxzhBJXjWQPSKQkAD6RzEzWTXQSVMjYb2bYkn5JunkbG0vtcoL3z2Y604OvCFSJC2ZSXED0kLSSY4ZyYnjwX/Kik6rXXB0vuPEfTerhN0udvBEDuw327ULe6gNpAKm2woFoe2lwqgqTkrIDQkHnCbZLo2maN5xjPPf2IZVhxwFuWiNthXKnLZla/SU2lSjzJAz7p1reYSWglZ7hYmynRU14qjeHdq2vUYLlpK+StFJ+qoZipxyvjN2lRc0HVYlvv0Tv2uJ21Kn2RmRHziB3gemO8Z93GtSCta/J+RVLmkclm4p1RvxVvultJm3uUOvtlxCZIAjsq4Kg5Kg8DznhSO0qaaopzFE7CT5jeO/7b1fBI1jw5wuu9s7Vf2jcg4SpajhbbTmEjkPxJ8T4eUtNBs2mtewGZcd/b9B3Ike+d9/AIzZtmNjM43Ql69cScKNQgfknmdVaDKa550k+2pcLLthaczvP34Ddqc04Aylbd2bis2ddxKUYAkkwkQBJmAOA7q7BrcIAWYczdbh0a70/K2C06cT9unCvPN1rIBfetBgE/VPGuO/EGzww/mWjLRw4j6jUfZaVFNf+Ge7n91pewbuQWlGSkSk+0nhSuyakkGnebluh4t3KVXF/wBwb9ewq3raSSVCEqEKq2/cwgNgwVzJ5JHpH3Ze+sras+GMQg2LtTwaPiPhknKSO7sZ3eu5ZJ0s7xdTbi2bMOXAlUaoZGQT4rI9wPOmvw9RAj8w4a2sOAGg+Z4qNdLn0Y3a81nG523UWdx1i28YKcMj0kg5ykHIyOHLiM51tr0Dq6Do2Psdew24++4pellEL8RH2VzvDuiHkm7sVl5tcqWiSVgnMxOZPNJ7XjWdQbYdC4Uta3A4ZA6A8OwcxlyTE1NiHSRG4813vSos7LtbV8y/ixhJMlCBigHyITHiPVo2a0T7SlqYfgta/E5fS/hxROS2BrHa+gQFXULPRRuLua9tF7CjsNJI6x0jJPcPaUeA9+VLz1DYhnrwRhxZBej9293WLFkNW6MI9ZRzUs81HifgOECsWSV0jruV7WhoVvVakq/a+2WbZOJ9xKAdBqVfVSM1eQouove1gu42QHtjpRM4bZj7TmZjn1aDp4qHhXgN0k6uafgHecghHae9V46tDqncCglQbKQhOEKiYKQTBy1JzioixN+Cp/NzG+duQ+qkbOuHnsZeU6owEjrFFWRxaAnKY5CsraJzb3rX2S9z2vLjfMeigL2zdlstqunChSYKVKxAg8DiJrTxXFrLFNZM1xtfLl9EQbN6SrpohLoZeSBll1ZIHemQPDDU771aK9wzc1HGwt/LW4ISVFlw5BLkAE/RWDhPhIPdXoKciqY5dDnwV5d7VZa/SOto5AqAJ8BMmvHSNaLkpkNJ0CqrzetoCW0LX9IgtoHipyMu9IVSEu1KePIG54DNXspZHbrLON5dxlbRQ7d2zSGnZkJQTguBEkpKgO3PrgBKvjWzs7aDy3+K0gduvvsSk8DWnqm6x51spUUqBCkkgpIggjIgg5gzwrdBuLhLq53W3kVYrcWhtC1LRhBVqk8weXMccuVZ+0dmtrg1r3EAG9hv97juTEE5iuQFfbu7Lbcbd2ltJSloxZA6uKBA0GonshOQyOgFZVfVSskbs6gABtmf2j3mTrnxTEMbXNM0x+6mWe8tjduptXLFDbazgbWnDiSSYT6KRhk8iY7xS8uzK6jiNTHUFzm5kG9iBmdSffBTbPDK7oyywOhQ6h9zZW0ZQZUwv76CJwq+sg58p7q36aVldStktk4eB0PmkJGGGQjgt9sr1KktPsmUFIdbPNCvSSe8EkR418/qoX0NR1dWdZva06juPkSVtRuEzM9+R57j3ozYdC0hSdCJFdVFI2Rge3Q5rKe0tcWncu6mopUIQjf3IWtbijCM5PJtvNR8CfzrlXXraqw0cbf+Ddf9R+a1haCLPdn3n6BYBcOL2rtIkyA85p7DaeA1AhAjx8a7mpmbQ0jn/tHid3n5LHiaZpQOKvr+xav755KjgtbJrCVJgRhB4kcCDzyR31gwTS7OomFovLK69j2/a3e5Pva2eUjRrR799iot0mrhtFzd2zgQ2zqlzR0ZnCQMsURyzVkRWrtN1NK+Olnbdzt4/T28vpmCqIDIwGRhyHmqHbG0nLl1bzhlSjpwA4JHcBWpSU0dNE2KMZD3fvSskpe7EVO3T3bdv7lFu1lOalxkhAOaj+AHEkeNWTSiNuIqAzNl6h3f2I1ZsIYYThQgeajxUo8VHnWC95e7E5MAWFlY1BSQVvjvwGCpm3KVOjJazmhru+kvu0HHlUC5KVFUI+q3NyzK8aceK3l43FEdp1wnTmB7ImYAAiohx0JWbje913ldK2VCOwZzCcaUwFK4BJJJcV3ggDPMRXoJJzUhrmmGNgLnJaisKUk4M8McTJEJxBSSSRwPOoy1McQ6+SahgknyY3LyV5sWwWkKwwoqKT2R1nozliGBHH2jWLW1McpGVrX1NtezM+S3qKmMDCCb3N1IY3WgDsACPWWkacwltX8VVO2s7QHwF/Uj0Xg2VBcuLST2k/JK03bbdJIS2UjRfzigo8cPbSCBzEg58qhJtKSO1ybndkLeR8FYygg3MHqpa9g27Q7amUf9NP8AOVT8aX/PzSnqhx7z8rJgU7G7gO5MX76GGyWy7n2QoJS2PEBKUFcDOBl3ipQRPnkDXBo46uPmSB32UZ5WQxl5K0HYWzbNbaHmUIcBGTihjVI1krkpVOoyiupjhjjHUaByCyzKZBe91exViiss6YNwg+hV5bo+eQJdSn9YkesBxWke8DmBT9HUYTgdoqZG7wsIA1rYVaOd21N3th/Z6nEtPNudYyVaKmZHj2lZa5giYNcztASUNb+ea0uY4WdbUdvkPQ2WhDaaLor2IzHap2yN02dnKFzfvtlTZlttEmVDQ5gFR4gAZazSlTtafaTTT0cZsci48N+mQ8e5WspmwHHKdNAgjb21Dc3Dr5EdYqQOQAwgeMACa6WipW0sDYRu/ufNZ0zzI8uWmdDW3MTLlqoypkl5qeKCYdR7yFfaNYf4jpbxioaM25ntG8d49E1QydbAd/sea17dt/0mpnD2kd6Tn+fxrH2LLhxU99M29oOf370xWsvaTjkeYV3W6kFB21cYGVEansjxOX+9IbSnMNM4jU5DmckxSx45QDpr4LLuk/afyewWhPpPqDCfqJ7ThHcTl9qq/wAO0oMrpNzeqO7XxdmrNoSdUN45+P2WW7BcubVHy5pKOrnqiVQZmDESDE8UmcjW7XNpax/5KUnFbFlft36ePFJwGWEdM0ZaIrtt7rO7acZfSbYvZOLbiFHvUBOg9YREiawpNjVtJK2aB3SBmgOo7r+hHJPNq4ZWljhhJ1VXvg43bWjFlbuBxKyXnFgjtCezpkc/4BT+yWS1NVJWTtwkdUDhlnr7zKoqi2OMRMN990DlP9f0K6a6z72Xpbos3SFhaDGmH3oW6eI9lH2QfeVVh1U3Svy0CYY2wRnSymgTpC3sLP8Adbc/PKHbUPUSeAPBR58BnqRUSUrVT9GLDX0QBsiwSEJccz9kRPa9lKdSqZ79ag65Ngst13ONkW2uwypBcuYbaSCotyIgZy6rjkPRHZH0qkGBqYZAbXVfd7PS0A8StkqBWhIOTTWQnAqQHFmBhyiY9UyvVT9E0NaLuOnvsT9JR9Ibu+EJ+2YZwfOJUsHPq0oWtIOsqKU/OLPFSvKK5uR82O4OfEkA91zkOXeuha1gbYacFJ2bbFaStC1tNk9hCcJgDLPElWAzPZGnjNUTPDThe0OcNTn8iL89/JTbpkmr95hKTM3CskwolaQSQBigFKc+7FyqyJkrjl1N/A918z424rxxG/NfbS3SEAYH3CO9baOcBK1pASNAM8orx7iXE3aPAnxAOaBpv8044Oq0SxbzpAxrV4AASfvVH+Zvc7yA9fkjTgEHbY2gh1yU4yEyOsXqonu0SNIAA1PGt+hpXRMu62e4bvrzXN7Zqmy2iZnbMqbuxvE5ZO4hKm1H51vmPaTyWPjoeBGgx1sisukqjEbHRbXaXKHUJcbUFIWApKhxBq5bgN8wnSKF6vOfS9uiLK561pMMPypIGiF+sjuGeIDlI4Vs0c+NtjqEs5uE9iz8U6hE+725L102Hittpkz21mTkYOXjzIrErttw0snQhrnP4Ace36ApqGlfKMZNhxRXsLdfZqQtwuG4DIlxxRhpPcMOSvCVcOYnArtqbVcWsa3AXaNHxHxzHOwT0VNTgEk3tqdyDt3NsJtdoouGpDKXTkdS0olJBHPAffXXOifJThkmbrC/O2ayS4Nfdui9D2znVOoM5JVgJ5pVmk+4n3CvnMZNJVNv+l2A/wBJzb8/ALdcOmiPaL941RdXXrGVDvG/2m0+yC4fL0fjWBtia0jG/tu89w6vmtCiZ1XHjYfVYX0x32K5aYGjDQkfTc7Z/dw102wqboKVo3+yfMrPrJMcxUva+7Ty7Owtm0ygEKfIUJSpWpgnMDGv4Vh021YI6yoqJD1jk0W1A+tgn30zzEyNoy3oc6SHgb1SUowJQhKE5Ri4k9+uGe6tr8PNP5MOLrlxJOd7e9e9KV9ulsBohk8v6+FbiRsjboi2B8qv0FQltgdavvIPYT97PwSRStZJgj7TkpsbicvR9YiaVTvTttNnbOPnMpEIT7Sj6I8OJ7gaFF7gxtysfs0yVuuqJUolTizmVExw8TASO4CqSS4rn3PdK65RTu9sV1ChcdWFzJ6mQFNzqUEnCVmO0DA5K9q4WtZPQR3ztdX17tW3ccaYWvqkg43Q8C0ThPYb7cYsSu1lIIQRnir3MZp3qkhv2VTtVzrrwlCxCT2VCFAhtKRzj03lHyrm9pyjpHXF7ADxuf8A1WzSM6nPNcIvXyF9WEOgZJX6AJzkAScccwQJy4Gs3oYhYuJbxGv9r8jxTWJ27NMW7TREC3U4sE48YT6Uyokk4cyZ7M61Y98gN8YA3W4btBfxsvABw9+iau3XOuQlRSlCU4w22hbkEEYSoJjPUjKJSeIBqUYZ0ZcLk3tckN3Z2vfv35rw3Bt91JVjUCSH1DWVKSykfdOOPGarGBumEeLj55L3M8fT7ocuNolxTjTGBImFraHCOKzmo6jKNM8tdqlo2loklueAP00CxdobQdC7BHbnqU0bRIThAyiIOfjNPkm91zDnOLsR1VU4jq9c0/FP+afw/Cfxc17bFpr6o66Ltu4HDaLPZXKmu5Wqk/aEqHeFc6tYbhaWz57joz3LT6mtNDu/+74vrJ1mBjjG0eS05p8J9E9xNWwSdG8OUHtuF5XUnLPLxroQqAVbbtbKcvHU24WQ2JWqTkkSASE6TmB51m7SrI6KEzkZnIdp3C/BMU8bpXYLrRN4dhI6tthdw3aWTeiQRjdOpUomBM5gDFz1gDk6DaDy900cZkmdqdzRwFvtw56U0AsGlwa0eaz/AHoRZJLabJTigAQ4pc9o5QRMd8wANK6vZpri1xqwBfQDdx93KzagRAgR962zdG++UbPtlkkksltU+0yYk95SPjXH/iGnwVDuDmnxb1vS4WjQSXjHYfXL1Wi7NfxtIVxKRPjofjWtRTdNTsk4jPnofNJTswSFqHNsKxvrHehv39o/EVz9b/GrHNPFjO49Y+i0oOpCDzPyXnHfa+66/unObqgPBJwp+AFfRKduGMBYJzN1E2dty4Y/RPLSOQMp+6cvhVdRQ01R/NYD6+OqujmkZ8JKv3t/XnWVtPNNOYklIVEFJIIxQZBPHQVlM/D0EUzZYXObY3tfW27cfVMPrnOaWuAKFBXQXWct/wChDZXVWJeI7Vwsq+ynspHvCj9qsaufiktwTEIsLrRZpNXLLOlDaHW3KLcZpaTKhzWsfkiPvmq3ussraEpxBg5qj3cAW6lLhHYyb5LUMirkVJGUcDiPKvDlolWt4b1quzVBCZJgASTyA1qbTktWEBoXe76SWi6sdu4V1qgeAIAQgj6LYSD34jxqWmSuZmLnegjaPUi6dDoThCnMKToSVpkBI9LhlBrmK4y9M/o9bjuy47lr0wb0bb9vqmrB1RLgaIYaAEhc4kxilSUKyQkjScspjWlJAAG9J1nHhoewka28e1XtvnhyC6tXlIZ9NCGwTDhSStySTiCT6xJ+lOsZ0PY18mhLssr5DsvwHdbivQSG9nFR9muKCMlvSoknCzKznljWpJTiiOQGlTma3Fo3Li7IcgCDb1XjDlr5Ji6+cUWyDhjtla8ahp2YBwNkj2c45ZU9QQBxx7hpYWB7zme9Zu06wwMwt1PHd3aJi7sgkAtAJUkQAMgR7Ku4njwJnnOwHZ5rlQ7imUvBSZA8QdQRqD3144WVbm2KiXDWUxUbqIVWHVtONlBhSVhbZ5FOYB7pjyyphrv1K+N+E9INQvQuyL5L7LbyfRcQFAcpEx4jTyq1bwIcAQpZFCkvMHSpsj5NtJ9IEJcPXI8HMz+/iHlW5SSYoh2ZJZwsUM2N+4yoraWpCoIxJOcHUVOaCOZuGRoI1sVONzmm7SmX3lLUVLUVKOpUSSfM1YxjWDC0WHYvHEnMrhJqVlErZehe9xWrzZP6J9C/suDCR4dmuW/EkeUcnAi/I5H1T1A7NzeIP1WtbsL+aKTqhZH9ec1mbDcfy5jdq1xHz9bq2vH8QOG8Khun4W4vktxfkgSPxpClvJWjte8+Ay9UzN1af/xHmvMbhJMkyTxr6Q3RYLbWTYFeqV11QvNV0DQVAhert2bLqLVhr9m0hPmAJPvk1z0rsTyU20WCsyqq1NYLtC+LrzzoMqdcJQe4mE+5AHuqo5lc/K7HKTuRDsq3RgS2pIUkAZHPSM/HvrwHO6Ac7q3vrZfVpZbfXD6g3gcHWAJgqX2jC4wJUM1HWMpq4EJ9hJFrok+U3QGSbdf21o+GBdGSYxu7PfchC6W6m7UVNo6xRX2UrlIxJaWDiKQYlK9E+R1rnNpxt6R1zYHCdOY+i2aJ5MYyzzHzUV2xl8m5dglOJOFQCMKToQpORBVIMnjppSjZrRWhbvtnrnyPYmsPWu8/RK9dtzKWx17hGSzjdwiYxYhJEckxnGkzXsbZx1n9VvDJt+zd5ocWaDM+KcuMQbJwPvBI1dUG0xGZUmUk+aTUW4S612tvwGI/P1XpJDbi58vomrNsIaSAcokZR6WeQ4ATEV0wbYALiamTpJHOtZcXCtaEsqe6XgV1mgMBzlGgV4jj3eAqdriyNck6o5EVSq1Tvt4iSOGST38T4SI8jVwOHJWXw5eK1jolvussik/q3VAeCoc/FRHlVw0WzSG8VuGSNqkmVif/ABCWEOWrwHpJW2T4EKSPiqtLZ7viaqZdVjtaZC8CVeL1KvVGy0foVuPnrtr27fH5oWn/AFGsD8RR46J193yz+Sbojhnatw2E8EreniQoecmua2XKGTTA6Eg+NynatmJjO8eCGdtuxa3Khr8nfUPdUNjEPqWHjiPi4BSrsoXDl6LzqRX0QLASWyoBKiCAr0TGRjIwe415jaSQNRqp2K4ivUKw2TZqUtslPYK04jwwzn8JpeapijuC6xXoic7MBeilb+WCf18/VQs/y1gGVqdEZTF3v1blCg3jUSCEnsJExl6SxVLqpg4+BU+hcRuWYWuzykplbQwjQup1yE5Twn3mqDWtzs1x7is1uyJM7uaryzew6u23/dJ/lH41S6uI0jd4K9mxxvkCnovx1iF/KrYFCVJAzI7USf0gz7MeZqs7Sm3Qnz+ibj2ZE3V/op423zvWR9UIH8SlVS7aNXuiPgforxQwfu81UbRvUl0L+VBSux2pbkdooVASAPRcJzB9HuqtzpqgXlZxGhF948xbvV7GMiyYfei+JumQ8VNqQuEkKU68O0qcoxSQBnmkQZ7qp6GUxYXgjgA3Qd1tctTuVuJuK4z5lSlXaSsOG7tgQCAMlATE59YCTkM/hVPRENLOjfz0vbuKlizviHvvUW4ebUQLi4beQogQlzBh5EoSrtDmSctYq1jJGi8LC0jiL37yMvBRJByeQRz9+qllu0/8QR/1if4iak2qrhuP+lLuoaM/pHiml2tsdLpX3kH+SrRXVg1Z5H6qh2y6M/3Ud3ZzBmLtOftJB/AirRtCo3xKk7GpTo4jvUVWxk4MCbtERElCgY5TJ4ZTVo2i8m5iPiqnbFhvcP8ARRl7HIEJdZIHev3egasFe3ex3l9VQ/YZOkg8EQbjbR+QdeHE9YlxSVJ6sjIiZnGU6yKvbtGPSxTUFA+JtiQUUDpHtAYWHUHvSk/wKVTDapjtLqboXBBfS9tti+tGRbKK1oeBIKVJhJQsHNQA1jKa0KKpY15J4cD8lTJE4hYy40QopOo10/EVuMcHi4S5Fk2RUlJdlJEEjUSDGokiRzzBHiDUQQSbbl4dEddDSv7+sc7d0fAH8RWXttt6N/I+hV1Kf4reY9VtNu5ClZ6pR/DXzyGQteeTP+IW29t2jm71VPt0f3K5/wDKv/ga0dhZTxg8D/yVG0P5TuY9FhGytlOXCw20AVa5kCBzz/LOu8qaqOmjL5DYcifRYUUbpHWatTsd1GzZN21xC8JKsSMoJUT2TE6GNM+WlcFU7cf+cdUU+QItY77DePNb0VCOiDH69izvfJm3afLNu1hDWS1EklSjB9Y6AZCNc+6uy2S+olgEszrl2YtawHd5rIqgxsmBm5QNgx8ptyR+ub/jFaUvwFLNOa9VL2ayr0mmz4oSfxFc8nVX7U3ft+qdwsNJVgVBSgAgwYOQ1mq3RMdq0eC9L3AZErFNmbRcVq45MjLrFaQOR5zS8lJD+weCxztCqZazz77lf2dy4f1rn3ifxmqXUNOf0BWN2tVD9XkFO2e86ouS+uErwp7LZyATM9j2iardsymIHVt3lNDbFQOHgrNAd/ap+03P4KFVnZFOdCfH7K1u2pN7R5pwB722T9hSf5zUDsZh0efAK4bZG9nn9lGs755xttwNtQtIVGNQIkTH6M86qdsR26Ty+6tG2ohq0qC5Zh9Lbr/aLikgIHotpM5Dmrmr3RSQm6Fzo48sN7neSPlwC0sOMBx3qRbXryMTeFDnVqw41KKSRCVCQEHtAEAmro9nipb0rThB3W8d+iTqdospXdG8ElfHNtPBYRhbSSkqB7StCARw0ke+r27FaMy8+ASbtuttcM81HutuPI9JxtPKEGSeQBWST3CrWbHh4ny+ipO3ZT8LB4qB/a92qT1hQngMKMR79OyO7M+FXf4ZTN3X7yqX7cn3AKBebWuAU/PLgkgwY4ZHKOIqxtDTWPUCo/xercD1h4KC7fPHV1w+Lij+dWtpoBoweASztpVZ1kPkjforsUPKuVPIS6E9UE4wFQe2TGIGDGH4UzHGxoyAT9DNLIwl7iVpTNg0n0W20+CEj8BVycWc/wDEBHyBgf8A9Sf/AG3aeoP5h5fMKqXRYBGdbCrWn7q7u2d9bNurZKXEHA5gUUhZRGcaQoETEGScxXE7X2pWbPqXMa4FpFxfMi/nluutWlpopo8RyO9NdJW7TzjjbzDQU020lBSgZpwlRyQPVhQ0mI4VZ+HdrQBhhmfZ5cTc77238ct6jX0zgcTRlZV/Q2P/ANgo8rd4/uxW7to2o38j6FJUwvK3mFsraJUfqo/hFfN2MxPPJn/ELecbNHN3qmdoMYm3m/aQ+j3orS2a/BWNH+aQeFil6oYoDyafkvN2PMH+hX0e1wueFxojq036LFiykHrbklU4yVYUhRjFmCSRAAnTPkDy834eZUVz3uGGOw0yube75LVZXujhAGbkN7ybdTdqS4Wg24BCylUhYGhgjIjxOUcq2Nn0Bo2GMPLm7r7vsk6iYTOxWsVUsPFJChqkgjxGY/CtEi+qX3r1/auhaErGigFDwImucIsbJ1OFNeIXnZyx6tx1pWRadWgHQjCYB8wBUHmxXPTXY8hWNm6tOoxjmmAr3HI+RHhVeR7FEYT2KfsnaDYBBUEkuLyV2fWPPur1zSrCDuV+y9OhmoXRdSA5Xt17dQdkK+YbA0SCn7pKfyqTjmvXL7aj5m37nY9xUPyrkKgWnl7/AJLtoDeGPu9FXuXuF14JQtausOicskpT6SiE8OddBs5tqVnveVzO1zeqOfBQdql0pDhwthBnsnErCeyrMjCISSYg6Cn24b21WYCNF18nSkkgSo6qJlR8zoO4ZVHFdVucSm3DUCVBVu0k9gn2e17s69Z8SlHrZQrhUa1NouoAEmy1XoesimzccVq68o+SQER5KSqmBot2jFogjyhNLIP+Ii8hqza4qWtf3QEj+M1o7Pb1nFVyLEDWqq0c7C6QyyWWuobRbohKgnEVAcVTMEz2jlnnzrma78Nx1GOUvcZDoTa3YLW03a5LQhrjHZoAsoe/+23F3bqEPqLICMCUrOAgoSSYBgySTTOwqCOGkYXMAfnc2z1Poq6udzpCAcla9C7ZN1cr4JtVj7ymwPhNS2+4Non8j6KFGLztC2zZVviW79HCPcCPyrjaGHHLIBuwjwFvktOokwsb23TdwjC+sH9qD5LBmi4irj2PH+8H7I+OAf0+i8ybUteqedaJ/RrUj7pj8q+kRHEwFc/ZQ1Gpr0L4mgr2y6QqhRIXp/ov2j1+zLZXFCOqV4t9j4gA+dYVS3DKfHxTTDdoRVVCkse6TNnFm96wDsXCQr7aYSoe7CfM1W8LG2jHZ4fxVHaPVQkQVP2c96acjC1a/ShX81SO4q0nRS27NkmeqRPckA+8UY3cV6HuG9P/ACBr2VffX/qoxle4yo1jYtQ4lSAcLih2pOpxDU8lCpF5yUnPPFWNgmGmEgQBcLAA4CXIA5CK5etH/US8vouzonYqeM9g9FDZczc73XP4zW5SttAwdgXLbUderf73Li4TIIOhBHvpm6z72US0US0gn0sInx0PxodYGyHjrFckcagoKv2gewuchhM16z4gpx/EFXLQpRHZJMgITxKjkPMkwBwmrgP0he2ucDd69B7A2aLe2ZZGfVoCSeZ9Y+apPnV66FjcLQ0blPoUl526c9qdbtHqwcmG0oj6Su2fgpI8q16Flo78VTIc1nQp5RXM5UIX2heLWehKzlq8c9tTLSfeVH4RXMfiZ14GxfuIHifsnaDKTFwBK2TdkSHV+0s/DP8AOsbYYDhLKP1O+/zTNdkWs4BRN4GyHSR66JHijP8AAUrtdhZUFw/U245sN/QK6jcDHY7j5HJYF0q2PV7RdUBCXQl5P2gJ/fCq7rZ0wlga4e96xJWYJC0oNp9RXIoXq+14vFsXQDtyFv2ijGP55v6wASsfdwn7JrOr48g8clZCdy2qsxXId362Cbu1UlA+dbPWNd6h6v2gSnxIPCvCLqioh6WMtWKsO+XMH8COdLkLnSC02Kn2bx6xY9qFfyn8BXh+EK2/VCtWnKjdeAqSl7Khe3TFu6Q659JKVDxHZPww1PcFMnqqysFyG+65P8ClfnXO14/jSH/L8wuw2Yb0sfviqu2USPEk+8z+dbkQtG0dgXLVzr1Lz2lOk++plKKLYjJQ5LX/ABE5e+h+qk/imLu4zwpGJXIcPE8Px7qA3eV4Gbzoqy+aPrEEmBA0EmMuZjj+FTYRfJTa6xyRb0b7DL9z16x81bnL6Th08cIOLxKOVXRtsLpughuekK1uprWUbaV8hhpx5wwhtBWo9yRJ86kAXGwQvIu1toKuHnXl+k6tSznpiMwO4aCuhY3C0NG5Lam6h1NepUIX2aF4t56MLLqNmskiC6py4P8AAg+cA+dcP+I6j+O1v7QXeAs3/cVqUDOqTxsPr5BabsBnCwjvz9/+0VPZEXR0jO3Px+1lXWPxTHwTO8TfYS5H6NQJ8DkR+FU7ZZaNs1vgIPccj45KdE7rFnELIOmTZOJlh8CS0ssrP0VdpBPIaj7VaP4bmtGYCfhNuY1B7wfJUbQb1xJxWYbJ2M9cqKGEY1DMjEkZaT2iOJrdq62GkaHzOsNNCfQJWKJ8pswIit+jS7Vmost88Syf4Un8ayH/AIoohkwOdyH1KbGz5t9kxvFuQu1YD4dS6nEEqwj0ZyBkkznlV2z9usq5zAWFptcX3+XDNRnpHRMxXuqfYe0nLW4auG8ltLCgNJ5g9ygSnwNbMjA9paUkHWN16r2JtRu6YbfaMocTiHdzB7wZBHMGsB7CxxaU2DfMKdUULKuk3dNSFKvLcdhWb6APRP7QDkfWjQ9riY8c0FZtbTA9do5oGbvMJQoiMMhRGYg+HeBw51RhvcBZzQCCAVcW16gmAoeE/lVZaRqFEtcNymheVeLxMXTkFC+Rwn6qsvxwnyqTTqFNuYIVjspcBM8Lkn/0Ff5VjVzbyOP+Uf8AILrdkOvSs5n5qnsb1OEDFMAZJBUdB7M1s4CuXna50rj2n1Ty7lZ9FEDmsx8BJ/CvLDeVThA1KhsoKivEokY9BkDkPP4xUnG1rBWOcABYJ1xxKBCQB4DTwioZlVE3zKb2Tsxy8uEstajtLVEpbByk8zrA4mO80xHHlcpmCB0mQ9hbhsjZrduyhloQhA8ydSoniSZJPfVy2mtDRhCm0KSyDp43pwtpsWz2lwt6OCQZSk/WUMXgBzp+hhuekPcq5Hblj+w9ju3bvVMgYsJVmYAA5nxy8xTlZWRUkXSy6XA8fd15FE6Q4WqPtLZzrCy28hSFjgR8QdCO8VOCoinZjicCF45jmmzgo0VcoKVs6yU8620j03FpQnxUQK8c7C0k7kL0wizCUoYb9FOBhH1WwB+MGvl20JHVNQ4DVzgwchr/ALiD3LepwIoxfcL+OnkjNCQAANAIFdc1oa0NGgWSTc3K5uGgtKknRQI99RmiEsZY7Qiy9Y4scHDcgPbOzBcMO2y4BcSWpPqrTm2r3gDyNc5smd1NUtxf0Hm34fEdUclpVcfSRG39Q79fqvO7Vw9buKwqW04klCiCQRwUMu8V9CkhinZZ7Q4a2KxWOcw3abLRdhoRe2Da7/GEW7hUHFH9KjkonMiYBOpwiDM1x9Y51DXOZQ2xSADCB8J9NM+y+llqwjpoQZd2/ihrbm03tpvpZtmyGkZNNjIADLGvgMvIDIamdijpoNlQGWd3XPxO49g3n56nsVmkdUODGDLcFR7a2W5aulp2MQggjRQPEaZajyNalHWRVcQlj09OwpWWF0bsLkd9D2+4tXfkz6oYdV2VE5NrOWfJKsgeRg8zVdZT4xibqPNEbrZFb+FVkphI50IWXb49H6kYnbNOJBzWwNU8+r5p+hw4TkKg5t896y6mhzxx+CArV4SULzjLtDPI6GeI0Iqp7SMws83ab6KeltHsJ8hFQxu4oxu4p3qWyIwjOjG4b0B7hvT+yn8LRyAKFmYEZhh7PzifOs+sbeXmB/yC6rZTrwd59E3bumAKeXJuNySvq3a8Xir034E55lRyGusflVhYSrS0lWOwdiXF8qGRgbBhbyhkOYEaq+iDPMpq5kQGZV8FMZD81sG7mwWbNoNMjvUo+ktXtKPPu0FWE3WwyMMFgrWaFNUO+e9Dez7ZTzmatG0TBWrgPDiTwFWwxGV2EKLjhF15d2rtFy4eW86SpbiipR5k8O4RkByit9jAxoaEvrmUU2G4dwltFwbhq3yCpUpSSidJUBAMd9c7Nt+ndI6ARufuyAN+5PMopAA/EAjG1wPtdTtB+yuEjRaXAFg6d2feCPOsGXpIZeloo5WHgW3HvsIPcng0PbhlLT23WZ72bNZt7gt27vWogGcjhn1cQyUeOg1rsdmVM1RAHzswnvz7bHRZNRG2N9mm6KehvY5XcLu1CU26Yby1dX2Ugc4TJ+7S+3Kz8vTHDqchz3ealSxdJKBu3rb9hW+J0nVLQwg81GZP4/CuM2VT46rFujFu86+d/JadW/DHbe7Pu92RJXUrLSoQhzb9pDmIZJc7JPJQ9E/131ze1afBMHjIPyvwcPhPy5XWnSS3Zh3tz5jf75LEel7YOB9N2kQh/sufRdAz8MQGLxCq6vYtd+YgF/iGRHAjX32rMqoejksNDmFQbA669LNip8IaSVKAPHjA9ojMgcM+VSruhoQ+tbHd5sPfAce5ShLprRXsFd7a3iasEqs7BGFaTDjqh2pHKdT9LQcBoazaPZsleRV1rrg5taNLd3prxKYknbAOjiGe8pq9xXOx+vuAS4wsJacPpLSVJSZPHUieJQDzqcOGl2t0UHwvF3DcDYnu08148mSnxO1Gh4oDBrpwkCMls3RX0kiE2l4vMQll1R15IWefAK46HhOZV0n62d4VjH7itiSuazVaupoQh/ePc+2vO04jC7wdRkrz4KHcoGvbqmWBkmoQHtTo+vGs2Ch9PKcC/crs/veVV9E071nP2e4fCbqhetrlo/O2zyO8oMfeiPjUTAdyXdTvbqPJN2tyCh46eY/ZPDh40lURkSNB99Zq29luw07xwJ/4pq2W6sQ2gqn2ErX8EineiPA+iwmxk6AlXFluhfvj9GpAPrOnqwPs5ufCpCMDW3r9leykldutzRdu/wBGLLUG4WXj7IGFHmJlXmQDyqzK6fZRsBu7NHbLKUJCUgJSBAAEADkANKE0Mk5QvVUbzbws2LJefVAGSUj0lq4JSOJ/DUwKnFE6R2Fq8JAFyvNO9+9D1/cF53JIkNtj0W08hzJ4nieQAFbsMLYm2CXLsRzT2725b92jrcSW2tAtZPa4ZAaicpy86za/bUFI/o7FzuA3c0xDSPkF9ArzrNobIgLwvWxyiSUeGYlsxw9HxrNA2fte+HqyeB+h9eSYJmpdc2qBt7+zbhlb7BNu+mJYjJROWQmO+UnIZlNN0Q2lTzCGXrsP6uHPf49xVcvQPZjZkeCEGmSpQSkFSiQAAJJJMADxNbxNsykl6K3a2MLG1bYEY0dpwj1nljPxCBkPAV8725X9LOSNGZD+o6f6RnzWzRQ4WZ6nXl9/RHmx7Pqmgnic1eJ/y0rT2bS/lqdrDrqeZ+miUqZekkJ3blNp9UJUIUe/tQ6hSDxGR5HgaWq6ZtRC6J2/yO5WQyGN4cED7b2Um5Zdt38gvsLPFCx6Dg89eefOsLZ1Y+lnxPyzwv7DudycMieOfBaNRCJWWbzb8x3fZeer+0dtLhTa5Q8yvhwIzChzGhHMV9CGCaPMXB3LDBLTcIs//KNnv4Xby2Uq4SACUeiuNDGMA+CgeUmuc/wnaNPeKklAjOl9R5Hy5rR6eB/Wkbn6p8Pu7XWE4fk9ixmqCOAMZxGLDw0SM88pqLItjsvfHO/T3ra/e4+UruqTYZNHv3wTfSOi1SzbpbbwOR83GRDWcFYj1jmJz1OsipbAdVOmkdI67d+/rdnIZG2WnYVGrbEGNwjP5IDdbKTCklJyyII1EgkHmM66lrmuF2m6zrFaRuD0ouWwSzd4nWdErGa2xpB9tI944TkKTnow/rMyPqrGyWyctw2XtNq4bS4y4lxCtFJMjw7j3HOspzHNNnBXKaDUV6vtCF8ihCBt+E/36wHtrAPk4n8lGlpWYpGngrGOsCjoUyql9FCF9r1C+E14hBe+3SLbWAKAQ9ccGkH0T/iH1fDXu40zBSvlz0HFRc4Bef8AeTeN+9dLtwvErRKRklA9lI4D4niTW1FC2NtmqgkuzKqFJ5jXSphwQtB6TLdXU2i2s7UNAJw+iDwJjmmAPA865f8AD8jRLM2T+bfPiR/fXuT9aDhbh+Ffeja8W83c2r0rtw0TKj6Ggwg8ARJHLDIqO3oWQyRVMWUmLx96dt17SPL2ujdpZZ6K6pZy0zog3Zlfy5xMhBKbdJ9dzQr8Efj4Vhbc2gaeLAzNzsgO33mfumaWHpH3doNVsexrXrHJ1Q3x9pR1P5+AFcfs6mFRUB2rI9/7nHU/PkAtOpk6Nlt7vIe/mieurWUlQhKhCVCFS7esv1qRMCHE+0nn4j/LlWHtalt/1DRfKzxxb9Rx5Hcn6SX/ALZPI8D9/eqzPpI3R+WNB5kYrhpGUDN5ocI/aJ4DxHKn9hbSwn8vIb72niOPMaEfRU1sH/daOY4FYia69Zy0vdu+F8W7ZpoM2rCAt5sGS6rgnPVBVmZ146iuM2hAaAOqHuxSvJDXftHHnbIW03LVheJbMAs0a9qn2Fg27drdOG4uAZcXqxbAaITPprH5EnDxVmnlipmxi7Gbh+uTiTwB+2asDGukLjmfIfX3ohze+/TtG7at7ZKVEHD13FXtGf2acz35x36+zKd2zaV81QSL54eHDvOnqlp3iaQNYO9Ce2tmKtnlsrKSpGpSZGefl4Vu0lS2pibK0EA8UpIwscQU9sPb9xaOY7d1TauIGio4KSclDxFXSRNkFnBRDiNFqW7nTUkwm8ZIP7RnMeJQTI8ifCs6XZ51YfFWCQLRNj752VzHU3LRJ0SVYVfdVB+FJPgkZqFYDdXwXVSEJ72NYr7Zh5OufBIV/LUHfEF6CiwLqa8TF5tFtpOJ1xDaRqVqCR7ya9DS7IBCDdu9LOz2JCHC+scGhI++YTHgTTUdFK7UWUS8BZfvP0r3l0Choi3bPBskrPi5kfugU/FRRszOarMhOiBW0KWoJSCpSjkkAkk+AzJptzmsbicbAb1AC5RLd7mKYtlP3TyGVx80zqpR5GDllymJExWPHtgT1Aip2Fzf1O3D357rpk0xazE827Fd7KQ3tSxFv2G7u2TLcAAKT4DgcgqNDB4xWbU9Jsus6fMxPOfYftqOy47VezDPFh/UFSbvb3PWQXbuth1oEhTS8ikz2gMjAnVJBHhnWjWbJhrSJo3YXZWcN/D+91VHUmMYHC44Lrbe+eNlTFswi2aX6eCJX3ZJAHfqe+K8pNjdHKJp5DI4aX0HiT73IkqgW4WNsFD3L3YXf3AbEpbT2nnOCEf6joB+QNaNXVMp4i9x0SzGF7sLV6AtbUJS2yynCMIQ2j2Ecz9IjMnlPOvm9VPLVzXHxvyaP2tOp5u8hzC3Io2Qs7Br2n7eqMLG1DSAhPDjzPOuopaZlNEI27vNZcshkcXFP0wq0qEJUISoQkaEIZ2nY9SqRk2TKSP1av8ASf60z5atpDSvxNyYTcH9jv8A5O8fMZ6sM3Stsfi3j9w+qyjpL3Fx47u2RCx2rhpPH/Fb5g6qHnzrqdj7W6UdFNk8ewR2Hcs6pp+j6zfhPksqbdUjNClJJBBwkjI6gxwPKt97GuHWAKVYSCiPam9uK0btLZvqG8PzsGSs8RPsnUzmdNBnk0+ycNS6pndjdfq9g+vDhrro06fqBjRYb1e7rsjZ1gu/cA654YWEnkdPfGI/RA51mbQedo1raNnwNzcfXw0HaVdCBFGZDqdFP6MdnpDbl3cdpVy51SMUHFJlRjjiUDP1DVO3pndI2mhyDBiNt1hl4DTmpUrBYvdvyQ1YbpG6vrtkKDTbKnCVYZCQFEJESMoz8Aa2JtqCmpIpCMTnBuXHLP3xKUbAXyOAyAuhlmyW4V9UhbiUZkoSowOBMDIHvrVdMxlsZAJ4kKnCTomkNzrpVqgXKxtLx9ofNPutj6Dik/gag5jXagLzpXDerBveO6wnFdvqWmC0pTiyUnRRSScpTIpeSmY57CGiwvfw+qm2Y2N0w/vBeK9K7uT3F5cfjV/Qx/tHgo9K471VPAqJUtRUeZM/E1PTReF5KaKaEAom3a3HevGHHm1oASVJSkzKlAAxyAM6z5Vk122IaSZsTwc7G/AFMxU7pG4go27+8bliHkIaQHlGMa09puJChH5HIEaGrazZ8dcWOc44RuByPBEUxivYZoqvU/2ts0OjO8tRCxxWNTkPaAxDL0gQNaxov/yq7oz/ACpNOz+2h7CCUy89PFi/UFn2ytouW7qHmjC0GRyPMHmCMjXSVMEdRGY3jIpNjyw3Ct99tts3byXWmi2ooAcJI7Su4DkMsXHLIRmlsqimpIjHI7EL5dg++ttysqJWyOuBzUTdvYD168llkSTmon0UJ4qUeAH+1PzzNiYXOKoALjYLfthbHZs2EstCUzMkdp5ftq+iNAPKvne1NpGqdi1Zfqt/ef8A5HmfLapqfoxbfvPAfX09TDY2zurBWvNxWp5d1aWzKEwgyy5yO17Oz6/ZK1M+M4W/CFZ1qpVKhCVCEqEJUISoQuXWwoFKhIORFRexr2lrhcFetcWm4Q1eWRZIzOCewvin6Kuaf67q5eppX0jgb9UfC/8Ab/ldxafLyWpHKJgcs9449o7VlvSD0ddZiuLNADnpO26fW442efPB7uR6nZW2BJ/BnyePdxxHp5rNqKbo+uzNvoshWkgkHUZRxroxbVLXurbbG33rvqkvrGFsYQQmAJ1UQnUxGnADKkqWghpcboW5uzOfln8+KtfK59g5GW2tvNfKdm29qsKYYU0ZByUSoJz7wmZ71msSlopfy9TPUCz3h2XAW+voEy+QY2MboLK137WmytrkIPzt86qeYRAxDwjLxWaQ2OHVtRGXDqxNHju8/wDiram0TDxcffvtVPugfk2yL650U782g/uAj7S1e6tDaP8A1G04afc3rH19APFUwjBA5/FRNyti2/yN+9uWlvhpeBLSCeASSogET6XHIAE0xtOtqPzTKSBwYXC+I9+Xl42UIYmGMyPzsnNqbNsrmycu7JKmVsn5xpSpBGUkSTGRkEciIqNPVVlPVNpqohwdo4C3yHveh8Mb4y+PK2oX3dvd3Z1yGWzdu/KHEyW0gABQTiUMRbIyAPGiv2jX02N4iGAHUndewyvdew00L7dbM7lC3rsdnMIcQw8+q5bXhKVjLIwr9WB5zV+z6mvnc18rGiMi9xrmMt5Vc0ELLhrjfh7CJt4XbHZybct2Db3XpxJU4oqjT2gok9ocqyqP87XukD5y3CbEAW9LcEzI2GECzb3VV0iWrKrW0ukspt3nclNAASIJkiBMEDOBkoTwpvY00wqJadz8bW6O198uxVVMbMDXgWvuVjuW2+dkzaCXxc4k5gAwUTikjLDIPdSe1HQDaVqj4Cy3ra3bfRXU4f0F2a3XXSZusXEG8aSA6lI+UtpM8BKgRxTxyzEHhmbC2mI3/lZD1T8BOXd37u3JeVlPcdIO9Au6u8i7F/rUjGkpKVomAocM4yIMGY5866LaOz2VsPRuNjqDwSkEpidcKsvbjrXXHAgIxqKsKZhMmYE01DH0cbWE3sLXO9VPIJurXdTdZ++dwMiEpzcdV6DY5nv5J1PvNQqKmOBhfIUNaXmw1W7bA2GxZMhplJwn0lH031c1ckToPzr5/tPajqvN1+j3N3v+Yb689Ninpuj0+LeeH398yzZOzSD1jnp+qOCR/XuprZ2znNd08/x7huaPfgqqioBGBmnqrettJJUISoQlQhKhCVCEqEJUIXK0AggiQdQai5rXgtcLgr0Eg3Cob7ZpbzTKmxmI9JvvTzHd/wDdc7VbPdBmy5YMxb4mcuI4j+60IqgSZHJ3kefv6IF303EYvh1oKWrg6PJHYc7nUj0VfS15zFaWztuuhAbUG7To8aHn+08QfJUTUdyTHrvasW3g3duLJzBctqQT6KtUrHNKhkofEcYrsIpmStu0rPOtiq1pwpIUDBSQQeR1mrHNDgQd6NDcKz25t567UhT6wShOEQAJ4kwMpPEjupSjoYaQFsIsCbqySV0hGJEG8e2WP7Ls7VhzEoHE8ACIUASQZAmVrMcDhrMoaOb/ABGaombYaN5f2Hmr5ZG9C1jVY7v2t3ZWjV5ZLNwh0/PMBsqCSJBORmRESAOEyKXrJKWsqXUtU3AW/C69r+It69ilF0kTA9mYO5Pb5WDL+zxfG2+Sv4wkoiMcqgyIE5doGAcjrVey55oK40fSdIy178Mu/la69nYx0fSAWKG+jdUbStvFQ96FitXbgvQSd3qFRS5TD3uUXflGHaN0P8Un35/nVmyXYqKI9g8slGoH8R3NH53jeY2LaXDARiTDKitM4QnEiRmOKU++uc/w+KbassMpNj1hY2vex+ZT3TObA1zR2Kt2ltD+0djuPPdX8pYcyOSSRkTGehQo5cSnnTUFOdn7TEUV+jeOfvMa9qre8TQ4jqFSWW9KGtlKtm1OJuFOFWJGUDEnVUg5gRA86fl2Y6baIqHgFgFrHO+R3diqbPhhwA5qh2dt24tw4GXVIDnpxBxa5yRke8Voz0VPOWmVgOHTsVLJntvY6quKaaKqutD3P6MXnsLt3iYZOYRHzrn1Un0AeZ8hxrI2htiClba93HQDMnlx95q6KnfLppxWwWNghlCWGWglKfQZTmAfacV6yucnxriqyrmqpcMgxO3RjQdrz/67t9lqQxMjbcZDe7jyRBs3ZeA43DicPHgnwrUodm9E7ppjik47hy98rJaepxDAzJvqrOtZKpUISoQlQhKhCVCEqEJUISoQlQhKhCrrvZYJKkHCo6iJSr6w/Osyo2a1xL4jhcdRa7Xcx89UzHUkDC/MeY5FUW0bBKkFl9tBQrVt0Ym1d6FeqfwrMjlnoX2acH+Um7D/AEu3cjxzTLmsmFzn2jUcx9Fm28nRI2olVm4WVfsXySn7DoEx9YHxro6X8QsuGVIwO7d/I6Hy5JJ9I4Zs6w81nG3N17uzP94t1oA0XEoPgtMp+NdDFPHJ8JSmhsVTA1chWuxdv3FrPUOqbB1GRSTzKVAie+JpOqoKaqt0zAbePiM1bHM+P4Sndt7x3N3h690rCT2RAAHfhSAJ7zJryk2dTUl+hba+/MnzXksz5PiKj7KvlW7yHm4xoMpxZjSMxPKrqmnZUROifodVBkhY4OCW1r1dw8t9yMazJgQNAMhnyrynp2U8QiZoF5JIXuxFcq2m91PUdYrqQcXVzCZ1kjjnnXv5aLpemwjFpfepY3YcN8lCXFXKC6ZaUtQShJUo5BKQST3AASa8JAzKEa7C6Lbx6Fv4bVs8XfTI7mh2p+thrNrNrU1KLvd798FbHC+T4QtR3c3KtLGFoRLn7d+FL/6aNE+OvfXMV23J5W5fw28TqeTdTzOSeipGg59Y8Bp4oqtLJbmYlAOq1emrw9kf1nWdT0c85xNu0HV7s3u5cBy8SrpJWMyOZ4DQfVXVnZIaEIHieJ8TW9S0cNM3DGOZ3nmkpZnyG7lIppVJUISoQlQhKhCVCEqEJUISoQlQhKhCVCEqELlaARBAIOoNRcxrxhcLhegkG4Vc9sgfq1YR7KhiT7jp5VmSbLaBaI2H7T1m+B07imW1R/WL9uhVe5aLQCMKkg64O2k+KDnFZ35eopvhDm/0nG3/AEnMJjHHJqQeeR8dENbS3NsLkkrtmCr2miWVzzIEAnxBp2DbdW3IFr+y+E+Dvkqn0ceubfMeSGL/AKHrYz1b1yz9dCXE/u4TWo38Rlv86Jw/8TbxF1QaMn4Xgqlf6IF/q75k/XQtH5Kq+P8AEtE79Xy9bKJopxo3zUY9El3wubOP+Yv/AOKmP8foP3jxH1UPyk37SnG+iK49a7tUjuU4o/wCoO/EVCP1jxCBSTk/D78FY2fQ+ifnL1SuYaYJnwUpX5UsfxPTHKMFx7AT8lZ+Rl32HeiKw6LbBrNbTzve+6ED7qMOXdSk236ki7IsI4uIb63U20bN7r8hdFOzLJpkYLdtDY4ptmgCfFcT51jybQqKg4TIT2Rgn/cdOYTLadkeeG3a4/JWlvs1w5wG+8nGv36Cpw7OnccQAZ2nrv8AE5DuXj54xlfF2aBWNrsxCDMFSvaVmf8AatOn2bBC7HbE79xzKWkqHvFtBwCm0+qEqEJUISoQlQhKhCVCEqEJUISoQlQhKhCVCEqEJUISoQlQhKhCaet0L9JKVeIBqqWCKX+Y0HmLqbZHN+E2UU7Jb9XEj6qiPzpT/DIB8GJvJxHzsrfzL/1WPMBRLu1KNHFn62E/imlZ6d0YykceeE+rVdHIHatHn9VT3F2tJiRpxSn/AE1z1VWTRPsCNP2s/wDlPMhY4X+Z+qkWjqlAdqJnRKR/LTlHLLK0Eute+jWj/wBVVIxrTp5n6q2a2aFCVOOnuxQPgK2mUGMXdI89mKw8gEk6fCbBrfBPt7KZHqAn6Xa/GrmbLpGG+AE9ufrdQNTKd/yUxKQMgIHdTzWhosAqSSdV9r1eJUISoQlQhKhCVCEqEJUISoQlQhf/2Q==">
            <a:extLst>
              <a:ext uri="{FF2B5EF4-FFF2-40B4-BE49-F238E27FC236}">
                <a16:creationId xmlns:a16="http://schemas.microsoft.com/office/drawing/2014/main" id="{59E33DB8-6E55-499B-B6A3-311795E5CB92}"/>
              </a:ext>
            </a:extLst>
          </p:cNvPr>
          <p:cNvSpPr>
            <a:spLocks noChangeAspect="1" noChangeArrowheads="1"/>
          </p:cNvSpPr>
          <p:nvPr/>
        </p:nvSpPr>
        <p:spPr bwMode="auto">
          <a:xfrm>
            <a:off x="1373981" y="5954"/>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endParaRPr lang="en-GB" altLang="nl-NL" sz="1350" dirty="0"/>
          </a:p>
        </p:txBody>
      </p:sp>
      <p:sp>
        <p:nvSpPr>
          <p:cNvPr id="37893" name="AutoShape 8" descr="data:image/jpeg;base64,/9j/4AAQSkZJRgABAQAAAQABAAD/2wCEAAkGBxQTEhQUExQWFhUWGB0ZFxgYGBwdHxofHR8eHB8cHBwcHCgkHBwmHR0fITEhJikrMC4uHx8zODMsNyktLisBCgoKDg0OGxAQGywmICY0LCwvLDQsLCw0LDQsLDQsLDQ0NCwsLCw0NCwsLCwsLCwsLCw0LC8sLCwsLCwsLDQsLP/AABEIAOQA3QMBEQACEQEDEQH/xAAcAAABBQEBAQAAAAAAAAAAAAAGAAMEBQcCCAH/xABNEAABAwIDBAYFCAcGBAYDAAABAgMRAAQSITEFBkFRBxMiYXGBMkJSkaEUI2JygpKxwTNDU6KywvAVJGPR0uEIc4OTVHSjs9PxFiVk/8QAGwEAAgMBAQEAAAAAAAAAAAAAAAQCAwUGAQf/xAA/EQABAwIDBAgEBAQFBQEAAAABAAIDBBESITEFQVFxEyJhgZGhsfAywdHhBhRCUiMzcvEVYpKisiRDgsLSJf/aAAwDAQACEQMRAD8A3GhCVCEqEJUISoQlQhKhCVCF8JivCQMyhQl7UR6srI9kSPvHL40k7aEX/bu7lp4/D5q8U7/1Zc/pqoLu2VTAKE92az+7A+NZ79rOJsC0HgLvP+2w8ymG0o1Nz/tHnn5Jh+8ciVFwDmooaHvOfxqHS1cvwtkP+lnyJ81LDE3XD5u+yprrea1SYXdWwPJV1iPmEqq0bPrni/R+L3n0yXnTRD9Xg0BQlb32HG6s/e4a8Oxa13xRR/7z6r381GNHO8l21vZYnS6s/wDurR+MUDZFc3/ts7i8ehR+ZiP6neDSrSy2w25+heQv/lXSVfAk1F9PWxHON45SH0ddAfE7eO9v0Vj/AGg4jVSh/wAxuR95EVX+eni+MuH9bLjxZb0XvQRv0A7nfIqVb7YJ1QFd7agr90wach2mXatDu1pxeRs7yKpfSgaG3MW89FOtr9teSVCfZOR9xzp6GshmNmOz4aHwOaofC9mZGXFSaZVSVCEqEJUISoQlQhKhCVCEqEJUISoQlQhKhCVCEqEL4pQAk5AV4SALlegXyCrLna4jsRHtqyT5DVXlWTPtRobeO1v3HId293d4pplKb9bXgNfoFRbY2shpHWXLqUI4KeMA/UaGaj5E0nHDVVruq0u7XZDuYPIuuri+OLfbsGvj9Fnu3elthPZt2l3BGi3Tgb8Q2nMjuOGtyH8OB1jUvLuzd4DL1Szq238sW9fFBW1OknaDsgPdSkj0WEhv94dv96tyDZ1NCLMYPfklHTPfmShi5uHHTicWtavaWoqPvJpsNDcgFWXLgNVJRul1dCLpFvKhF04LFwo6wNrLYyx4DhkajFETVRmjD+jLhi4Xz8FOzrXtkp2yt4bu3jqLl1scEhZw/dJj4UOijf8AEAvA8hFmyule5SQLhpq4A9YDq1+OJGX7tZVTsGjmzw2PEfax80yyslZvR9sTpBsrqE9b1a+Ddzl914ZeEkVh1ewqlg6pEg4O1HJws4JuKrYdcuX00Rpb3ziIEnuQ4dfqucfOs6Osnp3YCT/S/wD9X6eKtdEyQX8x8x9FbWm0ErOHNK/ZVkfLn5VsU9dHM7Abtd+05Hu49yTkgcwX1HEKZTqpSoQlQhKhCVCEqEJUISoQlQhKhCVCEqEKNeXqW4nNR9FI1P8At30rU1bILA5uOjRqfe8q2KFz+W8oe2jtCQpbqkBCM1FRhpv6x9dVYZfPWyYWjEeH6G8/3Hy7E8AyFt9PU/QLLN6ulYAlFiMStDcOp8vmmzknxUPKulodgMY7pag4ndu7luHd4pGWsLhhZkFntsxdbRuCApTzyhJUtegB1lRySJ0HkK2KmpgooscmTeW/uS7I3SusFH2xspy1dUy8nCpPuUOCkmM0n/PQzUqSriqohLEbg+XYVGWN0bsJRfurZt3Gyb5HVo65rthYSMeEALAmJIlCh51h7Rmkp9pwPxHA7K18r6Hs3hNwta+BwtmEDNmulSBTmOheJY+6heWUnZFgu5ebYbzUsxPADio9wEml6qpZTROlfoPPgO9WRRF7w0LXkuslm82bbxht7Upxc1qC8U8zMEnmTyrhcEolhr5tXvvbsFrfO3ZZbHVwuibuCzHcGwauL1tl9OJC0rBEkaIJEEZ6iuu2xUSU9I6SI2It623rOpo2ukDXDJN/2Ap7aDlowMg84hJVnhSlRGJR5ADz86ka9sNE2pm/a08yRuXghLpSxvEqt2xs9Vu8tlakKUgwooMieIkgaaaZQabpqgVETZWggHMX1+arkZgcWq63X33u7OEoVjZ4sudpHkJlB70kd9VVVDBUtwyNBXrJXRm4K1/dTfS2vgEI7Dv/AIdxWc/4LnreGR7q5Gv2HLTj+H12D9J1H9J1HLTmtKGra89bI8ePMIzs9qlHpytAyKo7SPrjiO+laXaTohaQlzRqbdZv9Q+fzyUpKYO+HI+R5fRXjbgUAQQQdCK6Bj2vaHNNwUgWlpsV1Ul4lQhKhCVCEqEJUISoQlQhKhCr9pbSwdlEFcTnokc1Hl3VnVtcIf4bLF/k0cT2eqZggx9Z2nr2BBm8W8bNo2XX1ntThSP0jxHBI9VsZZ6DLuFZ1Ds+WucTc4Tq46v+jeAH9mZpmQi2/cNw+pWJ7w7yXe03UownDPzVu3OFPf8ASVGqz36Cu1igp6CG+TWjfp796rLc58z+JKe2l0eXbLBePVqwjEtCVEqSNT6sGNTB8JrPp/xHSTTCIXF8gSMj538le+ikY3EV10VP4dotj20OJ/dxflXv4jZioHHgQfO3zRRG0wCOntjL2iw61dtqbcZcWm3fMSoSQDGpBAAPBQggzXNtrY9nztlpnBzXAF7Buy8OXDMHJOmIzMLXixGhQ10coXZ7QdtbgBPWNlJB0OHtAg8UlOLOtjbjmVlCypgzsQfHI997JWkBjlMbt6ZO62zbcn5TtDFB9BkAkdxjFn5CrW7T2lOB0FPbtd97fNeOp4WfG/wQJkDlmBoeeescK6QG4zSDgvs5V6vEVbmbxMWLb68C1XSk4WiQCgDLInFOuZy0SBWJtTZ01bIxuICMG5Gdz5W0yHNN087Imk/qRbuTvwbl8t3LbDZUg/ODsFWY7BxEzMk68NKxNq7E/LRB9OXGxHV1t25JunqxI4h1uaEOj5rBtVhPsrcT4whYrc207Hs17uIafMJSkymA96Io2u8NlouXRHyy8dcLfEttlZIV8Qe8kD1TWLSsO1Hxxn+VEG3/AMzrexyvxTchEAcf1Ov3BUvRjspK3XLx/wDRW4KipWcriSe/CnPxKa0PxBUubG2kh+J9h3fc5crqijYCTI7QIS2teh1510ISgLUVBKQAEg6DLLTXvmt2miMMLYySbC1zndJyOxuJCV3ZPMlBcbW2VAKRiBTPGQf6iiKeKYHo3A2yNjdDmOZqLLSdyOk0yhm/Xn6KLnUjkl72k/S15zmRjbT2I2Y9LD1Xjf71HYfsmoKot6rswtYs7tTZlMEEYigGUqBzxtn4x/Q5OGWWjlLQ2x/Uzcf8zPmPplovY2VoueTvkfr7JHa3CXEhSTIP9Qa6SCeOdgfGbhZskbmOwuTtXKCVCEqEJUISoQlQhKhCr9qX+AYUxjIkTokcVHuFZ9dW9CMDPjPgBxPYPNM08OPrO09ewIC3u3masWesc7alz1Tc9p5Q9dfJsf1rSOy9mOrXYnXwXvnq88T2cB7LNRUdFkPi9OwfMrErly72k668Qp1aU4lxohI0SkaAckjM56512b56ejDWvIbc2Hafe/QLKDHykkC9kU9GN6hTb9sgpZulpJbeiSoRoZn0TnA1GeoJrnvxFA9skdQ+7ohbE3cPDjx49hT1C4YSwZO3FTNjMs7N6z5ddEv3ScK0IJWUA+uo5yrPU98TVNU+baeH8pEOjjNwTlcjcNMuzxspsDYb9K7NyrhsROzNpW7xUfkhJKXTnEoUMJw6nORAzGnGG/zjtqUEkIH8UWBb3jPP2FV0Ygma7dxVBvZvCu4ulrbecLaVyzJIwxoQnge/WtXZuz2U9MI3MFyLO335neqJ53Ofe/JV21tpvXKgt9xTi44xkOQAEATypympYaZuGFoAVD5XvN3FRUtimLKvNfSkULzNWWxLLrOuymGjHcTofgaQrp+iwZ/qHhvTEEePFyVelYNPpYhdCKF4U/YbQUw6l1o4VoMpMAxw0IjQkVTPAydhjkFwdQpRvex2Juq+bc2m7cuqeeOJZgcgABACRwH+Z51ClpoqaMRRCwCtfK6R2JyM7+8QqwttnbOPXLd7T2EEGQQTimMIKueiUjgawIoXMrJK6t6obk3f4ccvMlOucDG2KLPirKz3Yb2Vbm7faNy+nMJSJQ2dZPhxWRllA4lOTaUm1Jvy0TujYd51d/fh4qxsDYG43C59FE6W9or6uzZcI6wp610DIBUYRA5TjGfKr/w3Ts6SaVnw3wjlr9FGucSGtOupQW5u7cJtU3eEKZUSJSZKYMSoDQE8e7OMp3xtGA1JpibPHHK/Lj7tdJ9A7Bj3In6PN/TbFNvcqKraewrVTB9pPNE6p8x3rbU2VHWMuMnDMEa3U4KgxHs3rbrS6LasaYVIClBJ7LiTmHEcP68a4lkk1FM4kZj4m7nD9w7RvH3tqFrJmAbtx4Hgfkia3eStIUkyDpXTwzMlYHsNwVmPYWOwu1TlWKKVCEqEJUISoQo1/dhpBUczokcydBStXUinjLzmdAOJ3BWwxGR1vFBG8e227Vly4fMgHMA5uueq2n6I4+BPAVi0NFJXTkOzF7uPE/tH+Vvn4WfmlELBh7hw7eZWA7Q2k5f3fWXLqUFxQBUZwtp4ADgkDQeZOZNd48fl4D0bb2Gg3+/7LIaMbhiNu1Hu2NiPgNbOskFu3WnE9cEzj9rER3Rl62QEJBrj6SugJfXVTsUgNms4cLD57tTmVqSQvFooxZu8+/fcg/aFklF6hGzFOuLbAOIQZWn0inmnLPhMgZRXQwTPdSF+0MLQ7dpkdAe32c0k5oElobmymb+bXtrtDD6QUXUYHm4MAJkSTznTjBz0qnY9HUUb3xHOLVp5/bXt01UqiRkgDhrvQm/dLWEha1KCBhQFEnCOQB0HdW2yNjSS0AXzPalSTvTSTVigQrnYO7N3eH+7MLWNCuISPFaoT5TNVSTsZ8RQG3K0LY/Qk8qDc3KG+aWklZ+8qAD5Gk37RH6QrBEd6JWeiHZrKSp5bqgMypx0ISPNITHvpZ+0JOwKYiCrbDZ1kw658mSgILiU/pOsxIE9vEVHJRnQ5QBrNcvtetnkks7QAkdpWpSwta3t3p7YO4myrlOFaQl0lWEJfIWtOoX1eM4cjpA0mADW7S19QY29IbOtpkkZoWBxw6LraHQjbmSxcvNnhjCXB8Ak/Gn27QePiASxiG5BW3eifaDEqbCLhI/ZntR3oVB8gVUzHWxu1yUDEQga6aUhRQtCkLGRSpOEjxB0NONIIuFCy+2V64ysONLLa06KSYP+47jrUJYmStLHi4O5Ta5zTdpRJuPvI8i9QV3BS26uXi4ZSrI5mdDoArKMuGVZO1tnxSUhDY7uaOrbUcvW3zTNPM4SZnI6pjpI2j120HiCCluG0/ZGf75VU9h0/Q0TAdTme/TysvKt+OU+CLd3GxsmyW9dFRU/6FtOuXFJyCiPSPAQNcqw65x2vViGnsAzV/vy4nPRNxAU0Zc/fu9+aDd7GbPG27ZOHC6CpTJBlojUd059nukGCK3tmOrA10dU3NuQd+73x8RcFJ1IjydHv3cEV9Fu+nVqRZvrhtSvmHCf0Sz6p/w1H3HuJinbGyxUs6RmT25g+/Ne005jNjoVsmzrzqlmRCCqFp9hXMfRP9aZ8dR1RpZOsLNJs4fsdx5H3pnpzRdK3LXUHiPqPeqJq6pZSVCEqEJUISNCELbQvOsXiBASJCCdEpHpuHlpl/tXLTzPrJx0e+4Z2D9TvkPqFrRsEMfW5n5D6rAt9dvr2ldoaYBLKT1dujQmdVnkVHMk6ADka7elgh2fTZ5AC59+7lZL3vnkvvKnjdjZrShb3F0sXEDEQYQkkTElBA+0Z8JrG/xTakzTPBCOj3A6kcdb+A8U7+XgacDn9by9Fa21wux/uN6ortHgUsvglOEHLAoz2Rn5d40Texlf/wBZSC0rc3M1v2jj8+eswTD/AApT1ToffvuVXtfaDOy2121mrHcL/SvGJQOCUxlMe7XXTQpKebajxUVYswfCzj2n3ny1pke2AYGZneVn6lSSTmTnPOuoAsLJG6sNhbDfu3Q1btlazrySOajokeNQkkawXcV4DfJbdud0Q27AS5eRcO64f1aTyg5r8VZd1Zc1a52TMgrAzitLaaCQEpAAGQAEAdwApJWLuKEIP3lSt68aYThyQFoxzhBJXjWQPSKQkAD6RzEzWTXQSVMjYb2bYkn5JunkbG0vtcoL3z2Y604OvCFSJC2ZSXED0kLSSY4ZyYnjwX/Kik6rXXB0vuPEfTerhN0udvBEDuw327ULe6gNpAKm2woFoe2lwqgqTkrIDQkHnCbZLo2maN5xjPPf2IZVhxwFuWiNthXKnLZla/SU2lSjzJAz7p1reYSWglZ7hYmynRU14qjeHdq2vUYLlpK+StFJ+qoZipxyvjN2lRc0HVYlvv0Tv2uJ21Kn2RmRHziB3gemO8Z93GtSCta/J+RVLmkclm4p1RvxVvultJm3uUOvtlxCZIAjsq4Kg5Kg8DznhSO0qaaopzFE7CT5jeO/7b1fBI1jw5wuu9s7Vf2jcg4SpajhbbTmEjkPxJ8T4eUtNBs2mtewGZcd/b9B3Ike+d9/AIzZtmNjM43Ql69cScKNQgfknmdVaDKa550k+2pcLLthaczvP34Ddqc04Aylbd2bis2ddxKUYAkkwkQBJmAOA7q7BrcIAWYczdbh0a70/K2C06cT9unCvPN1rIBfetBgE/VPGuO/EGzww/mWjLRw4j6jUfZaVFNf+Ge7n91pewbuQWlGSkSk+0nhSuyakkGnebluh4t3KVXF/wBwb9ewq3raSSVCEqEKq2/cwgNgwVzJ5JHpH3Ze+sras+GMQg2LtTwaPiPhknKSO7sZ3eu5ZJ0s7xdTbi2bMOXAlUaoZGQT4rI9wPOmvw9RAj8w4a2sOAGg+Z4qNdLn0Y3a81nG523UWdx1i28YKcMj0kg5ykHIyOHLiM51tr0Dq6Do2Psdew24++4pellEL8RH2VzvDuiHkm7sVl5tcqWiSVgnMxOZPNJ7XjWdQbYdC4Uta3A4ZA6A8OwcxlyTE1NiHSRG4813vSos7LtbV8y/ixhJMlCBigHyITHiPVo2a0T7SlqYfgta/E5fS/hxROS2BrHa+gQFXULPRRuLua9tF7CjsNJI6x0jJPcPaUeA9+VLz1DYhnrwRhxZBej9293WLFkNW6MI9ZRzUs81HifgOECsWSV0jruV7WhoVvVakq/a+2WbZOJ9xKAdBqVfVSM1eQouove1gu42QHtjpRM4bZj7TmZjn1aDp4qHhXgN0k6uafgHecghHae9V46tDqncCglQbKQhOEKiYKQTBy1JzioixN+Cp/NzG+duQ+qkbOuHnsZeU6owEjrFFWRxaAnKY5CsraJzb3rX2S9z2vLjfMeigL2zdlstqunChSYKVKxAg8DiJrTxXFrLFNZM1xtfLl9EQbN6SrpohLoZeSBll1ZIHemQPDDU771aK9wzc1HGwt/LW4ISVFlw5BLkAE/RWDhPhIPdXoKciqY5dDnwV5d7VZa/SOto5AqAJ8BMmvHSNaLkpkNJ0CqrzetoCW0LX9IgtoHipyMu9IVSEu1KePIG54DNXspZHbrLON5dxlbRQ7d2zSGnZkJQTguBEkpKgO3PrgBKvjWzs7aDy3+K0gduvvsSk8DWnqm6x51spUUqBCkkgpIggjIgg5gzwrdBuLhLq53W3kVYrcWhtC1LRhBVqk8weXMccuVZ+0dmtrg1r3EAG9hv97juTEE5iuQFfbu7Lbcbd2ltJSloxZA6uKBA0GonshOQyOgFZVfVSskbs6gABtmf2j3mTrnxTEMbXNM0x+6mWe8tjduptXLFDbazgbWnDiSSYT6KRhk8iY7xS8uzK6jiNTHUFzm5kG9iBmdSffBTbPDK7oyywOhQ6h9zZW0ZQZUwv76CJwq+sg58p7q36aVldStktk4eB0PmkJGGGQjgt9sr1KktPsmUFIdbPNCvSSe8EkR418/qoX0NR1dWdZva06juPkSVtRuEzM9+R57j3ozYdC0hSdCJFdVFI2Rge3Q5rKe0tcWncu6mopUIQjf3IWtbijCM5PJtvNR8CfzrlXXraqw0cbf+Ddf9R+a1haCLPdn3n6BYBcOL2rtIkyA85p7DaeA1AhAjx8a7mpmbQ0jn/tHid3n5LHiaZpQOKvr+xav755KjgtbJrCVJgRhB4kcCDzyR31gwTS7OomFovLK69j2/a3e5Pva2eUjRrR799iot0mrhtFzd2zgQ2zqlzR0ZnCQMsURyzVkRWrtN1NK+Olnbdzt4/T28vpmCqIDIwGRhyHmqHbG0nLl1bzhlSjpwA4JHcBWpSU0dNE2KMZD3fvSskpe7EVO3T3bdv7lFu1lOalxkhAOaj+AHEkeNWTSiNuIqAzNl6h3f2I1ZsIYYThQgeajxUo8VHnWC95e7E5MAWFlY1BSQVvjvwGCpm3KVOjJazmhru+kvu0HHlUC5KVFUI+q3NyzK8aceK3l43FEdp1wnTmB7ImYAAiohx0JWbje913ldK2VCOwZzCcaUwFK4BJJJcV3ggDPMRXoJJzUhrmmGNgLnJaisKUk4M8McTJEJxBSSSRwPOoy1McQ6+SahgknyY3LyV5sWwWkKwwoqKT2R1nozliGBHH2jWLW1McpGVrX1NtezM+S3qKmMDCCb3N1IY3WgDsACPWWkacwltX8VVO2s7QHwF/Uj0Xg2VBcuLST2k/JK03bbdJIS2UjRfzigo8cPbSCBzEg58qhJtKSO1ybndkLeR8FYygg3MHqpa9g27Q7amUf9NP8AOVT8aX/PzSnqhx7z8rJgU7G7gO5MX76GGyWy7n2QoJS2PEBKUFcDOBl3ipQRPnkDXBo46uPmSB32UZ5WQxl5K0HYWzbNbaHmUIcBGTihjVI1krkpVOoyiupjhjjHUaByCyzKZBe91exViiss6YNwg+hV5bo+eQJdSn9YkesBxWke8DmBT9HUYTgdoqZG7wsIA1rYVaOd21N3th/Z6nEtPNudYyVaKmZHj2lZa5giYNcztASUNb+ea0uY4WdbUdvkPQ2WhDaaLor2IzHap2yN02dnKFzfvtlTZlttEmVDQ5gFR4gAZazSlTtafaTTT0cZsci48N+mQ8e5WspmwHHKdNAgjb21Dc3Dr5EdYqQOQAwgeMACa6WipW0sDYRu/ufNZ0zzI8uWmdDW3MTLlqoypkl5qeKCYdR7yFfaNYf4jpbxioaM25ntG8d49E1QydbAd/sea17dt/0mpnD2kd6Tn+fxrH2LLhxU99M29oOf370xWsvaTjkeYV3W6kFB21cYGVEansjxOX+9IbSnMNM4jU5DmckxSx45QDpr4LLuk/afyewWhPpPqDCfqJ7ThHcTl9qq/wAO0oMrpNzeqO7XxdmrNoSdUN45+P2WW7BcubVHy5pKOrnqiVQZmDESDE8UmcjW7XNpax/5KUnFbFlft36ePFJwGWEdM0ZaIrtt7rO7acZfSbYvZOLbiFHvUBOg9YREiawpNjVtJK2aB3SBmgOo7r+hHJPNq4ZWljhhJ1VXvg43bWjFlbuBxKyXnFgjtCezpkc/4BT+yWS1NVJWTtwkdUDhlnr7zKoqi2OMRMN990DlP9f0K6a6z72Xpbos3SFhaDGmH3oW6eI9lH2QfeVVh1U3Svy0CYY2wRnSymgTpC3sLP8Adbc/PKHbUPUSeAPBR58BnqRUSUrVT9GLDX0QBsiwSEJccz9kRPa9lKdSqZ79ag65Ngst13ONkW2uwypBcuYbaSCotyIgZy6rjkPRHZH0qkGBqYZAbXVfd7PS0A8StkqBWhIOTTWQnAqQHFmBhyiY9UyvVT9E0NaLuOnvsT9JR9Ibu+EJ+2YZwfOJUsHPq0oWtIOsqKU/OLPFSvKK5uR82O4OfEkA91zkOXeuha1gbYacFJ2bbFaStC1tNk9hCcJgDLPElWAzPZGnjNUTPDThe0OcNTn8iL89/JTbpkmr95hKTM3CskwolaQSQBigFKc+7FyqyJkrjl1N/A918z424rxxG/NfbS3SEAYH3CO9baOcBK1pASNAM8orx7iXE3aPAnxAOaBpv8044Oq0SxbzpAxrV4AASfvVH+Zvc7yA9fkjTgEHbY2gh1yU4yEyOsXqonu0SNIAA1PGt+hpXRMu62e4bvrzXN7Zqmy2iZnbMqbuxvE5ZO4hKm1H51vmPaTyWPjoeBGgx1sisukqjEbHRbXaXKHUJcbUFIWApKhxBq5bgN8wnSKF6vOfS9uiLK561pMMPypIGiF+sjuGeIDlI4Vs0c+NtjqEs5uE9iz8U6hE+725L102Hittpkz21mTkYOXjzIrErttw0snQhrnP4Ace36ApqGlfKMZNhxRXsLdfZqQtwuG4DIlxxRhpPcMOSvCVcOYnArtqbVcWsa3AXaNHxHxzHOwT0VNTgEk3tqdyDt3NsJtdoouGpDKXTkdS0olJBHPAffXXOifJThkmbrC/O2ayS4Nfdui9D2znVOoM5JVgJ5pVmk+4n3CvnMZNJVNv+l2A/wBJzb8/ALdcOmiPaL941RdXXrGVDvG/2m0+yC4fL0fjWBtia0jG/tu89w6vmtCiZ1XHjYfVYX0x32K5aYGjDQkfTc7Z/dw102wqboKVo3+yfMrPrJMcxUva+7Ty7Owtm0ygEKfIUJSpWpgnMDGv4Vh021YI6yoqJD1jk0W1A+tgn30zzEyNoy3oc6SHgb1SUowJQhKE5Ri4k9+uGe6tr8PNP5MOLrlxJOd7e9e9KV9ulsBohk8v6+FbiRsjboi2B8qv0FQltgdavvIPYT97PwSRStZJgj7TkpsbicvR9YiaVTvTttNnbOPnMpEIT7Sj6I8OJ7gaFF7gxtysfs0yVuuqJUolTizmVExw8TASO4CqSS4rn3PdK65RTu9sV1ChcdWFzJ6mQFNzqUEnCVmO0DA5K9q4WtZPQR3ztdX17tW3ccaYWvqkg43Q8C0ThPYb7cYsSu1lIIQRnir3MZp3qkhv2VTtVzrrwlCxCT2VCFAhtKRzj03lHyrm9pyjpHXF7ADxuf8A1WzSM6nPNcIvXyF9WEOgZJX6AJzkAScccwQJy4Gs3oYhYuJbxGv9r8jxTWJ27NMW7TREC3U4sE48YT6Uyokk4cyZ7M61Y98gN8YA3W4btBfxsvABw9+iau3XOuQlRSlCU4w22hbkEEYSoJjPUjKJSeIBqUYZ0ZcLk3tckN3Z2vfv35rw3Bt91JVjUCSH1DWVKSykfdOOPGarGBumEeLj55L3M8fT7ocuNolxTjTGBImFraHCOKzmo6jKNM8tdqlo2loklueAP00CxdobQdC7BHbnqU0bRIThAyiIOfjNPkm91zDnOLsR1VU4jq9c0/FP+afw/Cfxc17bFpr6o66Ltu4HDaLPZXKmu5Wqk/aEqHeFc6tYbhaWz57joz3LT6mtNDu/+74vrJ1mBjjG0eS05p8J9E9xNWwSdG8OUHtuF5XUnLPLxroQqAVbbtbKcvHU24WQ2JWqTkkSASE6TmB51m7SrI6KEzkZnIdp3C/BMU8bpXYLrRN4dhI6tthdw3aWTeiQRjdOpUomBM5gDFz1gDk6DaDy900cZkmdqdzRwFvtw56U0AsGlwa0eaz/AHoRZJLabJTigAQ4pc9o5QRMd8wANK6vZpri1xqwBfQDdx93KzagRAgR962zdG++UbPtlkkksltU+0yYk95SPjXH/iGnwVDuDmnxb1vS4WjQSXjHYfXL1Wi7NfxtIVxKRPjofjWtRTdNTsk4jPnofNJTswSFqHNsKxvrHehv39o/EVz9b/GrHNPFjO49Y+i0oOpCDzPyXnHfa+66/unObqgPBJwp+AFfRKduGMBYJzN1E2dty4Y/RPLSOQMp+6cvhVdRQ01R/NYD6+OqujmkZ8JKv3t/XnWVtPNNOYklIVEFJIIxQZBPHQVlM/D0EUzZYXObY3tfW27cfVMPrnOaWuAKFBXQXWct/wChDZXVWJeI7Vwsq+ynspHvCj9qsaufiktwTEIsLrRZpNXLLOlDaHW3KLcZpaTKhzWsfkiPvmq3ussraEpxBg5qj3cAW6lLhHYyb5LUMirkVJGUcDiPKvDlolWt4b1quzVBCZJgASTyA1qbTktWEBoXe76SWi6sdu4V1qgeAIAQgj6LYSD34jxqWmSuZmLnegjaPUi6dDoThCnMKToSVpkBI9LhlBrmK4y9M/o9bjuy47lr0wb0bb9vqmrB1RLgaIYaAEhc4kxilSUKyQkjScspjWlJAAG9J1nHhoewka28e1XtvnhyC6tXlIZ9NCGwTDhSStySTiCT6xJ+lOsZ0PY18mhLssr5DsvwHdbivQSG9nFR9muKCMlvSoknCzKznljWpJTiiOQGlTma3Fo3Li7IcgCDb1XjDlr5Ji6+cUWyDhjtla8ahp2YBwNkj2c45ZU9QQBxx7hpYWB7zme9Zu06wwMwt1PHd3aJi7sgkAtAJUkQAMgR7Ku4njwJnnOwHZ5rlQ7imUvBSZA8QdQRqD3144WVbm2KiXDWUxUbqIVWHVtONlBhSVhbZ5FOYB7pjyyphrv1K+N+E9INQvQuyL5L7LbyfRcQFAcpEx4jTyq1bwIcAQpZFCkvMHSpsj5NtJ9IEJcPXI8HMz+/iHlW5SSYoh2ZJZwsUM2N+4yoraWpCoIxJOcHUVOaCOZuGRoI1sVONzmm7SmX3lLUVLUVKOpUSSfM1YxjWDC0WHYvHEnMrhJqVlErZehe9xWrzZP6J9C/suDCR4dmuW/EkeUcnAi/I5H1T1A7NzeIP1WtbsL+aKTqhZH9ec1mbDcfy5jdq1xHz9bq2vH8QOG8Khun4W4vktxfkgSPxpClvJWjte8+Ay9UzN1af/xHmvMbhJMkyTxr6Q3RYLbWTYFeqV11QvNV0DQVAhert2bLqLVhr9m0hPmAJPvk1z0rsTyU20WCsyqq1NYLtC+LrzzoMqdcJQe4mE+5AHuqo5lc/K7HKTuRDsq3RgS2pIUkAZHPSM/HvrwHO6Ac7q3vrZfVpZbfXD6g3gcHWAJgqX2jC4wJUM1HWMpq4EJ9hJFrok+U3QGSbdf21o+GBdGSYxu7PfchC6W6m7UVNo6xRX2UrlIxJaWDiKQYlK9E+R1rnNpxt6R1zYHCdOY+i2aJ5MYyzzHzUV2xl8m5dglOJOFQCMKToQpORBVIMnjppSjZrRWhbvtnrnyPYmsPWu8/RK9dtzKWx17hGSzjdwiYxYhJEckxnGkzXsbZx1n9VvDJt+zd5ocWaDM+KcuMQbJwPvBI1dUG0xGZUmUk+aTUW4S612tvwGI/P1XpJDbi58vomrNsIaSAcokZR6WeQ4ATEV0wbYALiamTpJHOtZcXCtaEsqe6XgV1mgMBzlGgV4jj3eAqdriyNck6o5EVSq1Tvt4iSOGST38T4SI8jVwOHJWXw5eK1jolvussik/q3VAeCoc/FRHlVw0WzSG8VuGSNqkmVif/ABCWEOWrwHpJW2T4EKSPiqtLZ7viaqZdVjtaZC8CVeL1KvVGy0foVuPnrtr27fH5oWn/AFGsD8RR46J193yz+Sbojhnatw2E8EreniQoecmua2XKGTTA6Eg+NynatmJjO8eCGdtuxa3Khr8nfUPdUNjEPqWHjiPi4BSrsoXDl6LzqRX0QLASWyoBKiCAr0TGRjIwe415jaSQNRqp2K4ivUKw2TZqUtslPYK04jwwzn8JpeapijuC6xXoic7MBeilb+WCf18/VQs/y1gGVqdEZTF3v1blCg3jUSCEnsJExl6SxVLqpg4+BU+hcRuWYWuzykplbQwjQup1yE5Twn3mqDWtzs1x7is1uyJM7uaryzew6u23/dJ/lH41S6uI0jd4K9mxxvkCnovx1iF/KrYFCVJAzI7USf0gz7MeZqs7Sm3Qnz+ibj2ZE3V/op423zvWR9UIH8SlVS7aNXuiPgforxQwfu81UbRvUl0L+VBSux2pbkdooVASAPRcJzB9HuqtzpqgXlZxGhF948xbvV7GMiyYfei+JumQ8VNqQuEkKU68O0qcoxSQBnmkQZ7qp6GUxYXgjgA3Qd1tctTuVuJuK4z5lSlXaSsOG7tgQCAMlATE59YCTkM/hVPRENLOjfz0vbuKlizviHvvUW4ebUQLi4beQogQlzBh5EoSrtDmSctYq1jJGi8LC0jiL37yMvBRJByeQRz9+qllu0/8QR/1if4iak2qrhuP+lLuoaM/pHiml2tsdLpX3kH+SrRXVg1Z5H6qh2y6M/3Ud3ZzBmLtOftJB/AirRtCo3xKk7GpTo4jvUVWxk4MCbtERElCgY5TJ4ZTVo2i8m5iPiqnbFhvcP8ARRl7HIEJdZIHev3egasFe3ex3l9VQ/YZOkg8EQbjbR+QdeHE9YlxSVJ6sjIiZnGU6yKvbtGPSxTUFA+JtiQUUDpHtAYWHUHvSk/wKVTDapjtLqboXBBfS9tti+tGRbKK1oeBIKVJhJQsHNQA1jKa0KKpY15J4cD8lTJE4hYy40QopOo10/EVuMcHi4S5Fk2RUlJdlJEEjUSDGokiRzzBHiDUQQSbbl4dEddDSv7+sc7d0fAH8RWXttt6N/I+hV1Kf4reY9VtNu5ClZ6pR/DXzyGQteeTP+IW29t2jm71VPt0f3K5/wDKv/ga0dhZTxg8D/yVG0P5TuY9FhGytlOXCw20AVa5kCBzz/LOu8qaqOmjL5DYcifRYUUbpHWatTsd1GzZN21xC8JKsSMoJUT2TE6GNM+WlcFU7cf+cdUU+QItY77DePNb0VCOiDH69izvfJm3afLNu1hDWS1EklSjB9Y6AZCNc+6uy2S+olgEszrl2YtawHd5rIqgxsmBm5QNgx8ptyR+ub/jFaUvwFLNOa9VL2ayr0mmz4oSfxFc8nVX7U3ft+qdwsNJVgVBSgAgwYOQ1mq3RMdq0eC9L3AZErFNmbRcVq45MjLrFaQOR5zS8lJD+weCxztCqZazz77lf2dy4f1rn3ifxmqXUNOf0BWN2tVD9XkFO2e86ouS+uErwp7LZyATM9j2iardsymIHVt3lNDbFQOHgrNAd/ap+03P4KFVnZFOdCfH7K1u2pN7R5pwB722T9hSf5zUDsZh0efAK4bZG9nn9lGs755xttwNtQtIVGNQIkTH6M86qdsR26Ty+6tG2ohq0qC5Zh9Lbr/aLikgIHotpM5Dmrmr3RSQm6Fzo48sN7neSPlwC0sOMBx3qRbXryMTeFDnVqw41KKSRCVCQEHtAEAmro9nipb0rThB3W8d+iTqdospXdG8ElfHNtPBYRhbSSkqB7StCARw0ke+r27FaMy8+ASbtuttcM81HutuPI9JxtPKEGSeQBWST3CrWbHh4ny+ipO3ZT8LB4qB/a92qT1hQngMKMR79OyO7M+FXf4ZTN3X7yqX7cn3AKBebWuAU/PLgkgwY4ZHKOIqxtDTWPUCo/xercD1h4KC7fPHV1w+Lij+dWtpoBoweASztpVZ1kPkjforsUPKuVPIS6E9UE4wFQe2TGIGDGH4UzHGxoyAT9DNLIwl7iVpTNg0n0W20+CEj8BVycWc/wDEBHyBgf8A9Sf/AG3aeoP5h5fMKqXRYBGdbCrWn7q7u2d9bNurZKXEHA5gUUhZRGcaQoETEGScxXE7X2pWbPqXMa4FpFxfMi/nluutWlpopo8RyO9NdJW7TzjjbzDQU020lBSgZpwlRyQPVhQ0mI4VZ+HdrQBhhmfZ5cTc77238ct6jX0zgcTRlZV/Q2P/ANgo8rd4/uxW7to2o38j6FJUwvK3mFsraJUfqo/hFfN2MxPPJn/ELecbNHN3qmdoMYm3m/aQ+j3orS2a/BWNH+aQeFil6oYoDyafkvN2PMH+hX0e1wueFxojq036LFiykHrbklU4yVYUhRjFmCSRAAnTPkDy834eZUVz3uGGOw0yube75LVZXujhAGbkN7ybdTdqS4Wg24BCylUhYGhgjIjxOUcq2Nn0Bo2GMPLm7r7vsk6iYTOxWsVUsPFJChqkgjxGY/CtEi+qX3r1/auhaErGigFDwImucIsbJ1OFNeIXnZyx6tx1pWRadWgHQjCYB8wBUHmxXPTXY8hWNm6tOoxjmmAr3HI+RHhVeR7FEYT2KfsnaDYBBUEkuLyV2fWPPur1zSrCDuV+y9OhmoXRdSA5Xt17dQdkK+YbA0SCn7pKfyqTjmvXL7aj5m37nY9xUPyrkKgWnl7/AJLtoDeGPu9FXuXuF14JQtausOicskpT6SiE8OddBs5tqVnveVzO1zeqOfBQdql0pDhwthBnsnErCeyrMjCISSYg6Cn24b21WYCNF18nSkkgSo6qJlR8zoO4ZVHFdVucSm3DUCVBVu0k9gn2e17s69Z8SlHrZQrhUa1NouoAEmy1XoesimzccVq68o+SQER5KSqmBot2jFogjyhNLIP+Ii8hqza4qWtf3QEj+M1o7Pb1nFVyLEDWqq0c7C6QyyWWuobRbohKgnEVAcVTMEz2jlnnzrma78Nx1GOUvcZDoTa3YLW03a5LQhrjHZoAsoe/+23F3bqEPqLICMCUrOAgoSSYBgySTTOwqCOGkYXMAfnc2z1Poq6udzpCAcla9C7ZN1cr4JtVj7ymwPhNS2+4Non8j6KFGLztC2zZVviW79HCPcCPyrjaGHHLIBuwjwFvktOokwsb23TdwjC+sH9qD5LBmi4irj2PH+8H7I+OAf0+i8ybUteqedaJ/RrUj7pj8q+kRHEwFc/ZQ1Gpr0L4mgr2y6QqhRIXp/ov2j1+zLZXFCOqV4t9j4gA+dYVS3DKfHxTTDdoRVVCkse6TNnFm96wDsXCQr7aYSoe7CfM1W8LG2jHZ4fxVHaPVQkQVP2c96acjC1a/ShX81SO4q0nRS27NkmeqRPckA+8UY3cV6HuG9P/ACBr2VffX/qoxle4yo1jYtQ4lSAcLih2pOpxDU8lCpF5yUnPPFWNgmGmEgQBcLAA4CXIA5CK5etH/US8vouzonYqeM9g9FDZczc73XP4zW5SttAwdgXLbUderf73Li4TIIOhBHvpm6z72US0US0gn0sInx0PxodYGyHjrFckcagoKv2gewuchhM16z4gpx/EFXLQpRHZJMgITxKjkPMkwBwmrgP0he2ucDd69B7A2aLe2ZZGfVoCSeZ9Y+apPnV66FjcLQ0blPoUl526c9qdbtHqwcmG0oj6Su2fgpI8q16Flo78VTIc1nQp5RXM5UIX2heLWehKzlq8c9tTLSfeVH4RXMfiZ14GxfuIHifsnaDKTFwBK2TdkSHV+0s/DP8AOsbYYDhLKP1O+/zTNdkWs4BRN4GyHSR66JHijP8AAUrtdhZUFw/U245sN/QK6jcDHY7j5HJYF0q2PV7RdUBCXQl5P2gJ/fCq7rZ0wlga4e96xJWYJC0oNp9RXIoXq+14vFsXQDtyFv2ijGP55v6wASsfdwn7JrOr48g8clZCdy2qsxXId362Cbu1UlA+dbPWNd6h6v2gSnxIPCvCLqioh6WMtWKsO+XMH8COdLkLnSC02Kn2bx6xY9qFfyn8BXh+EK2/VCtWnKjdeAqSl7Khe3TFu6Q659JKVDxHZPww1PcFMnqqysFyG+65P8ClfnXO14/jSH/L8wuw2Yb0sfviqu2USPEk+8z+dbkQtG0dgXLVzr1Lz2lOk++plKKLYjJQ5LX/ABE5e+h+qk/imLu4zwpGJXIcPE8Px7qA3eV4Gbzoqy+aPrEEmBA0EmMuZjj+FTYRfJTa6xyRb0b7DL9z16x81bnL6Th08cIOLxKOVXRtsLpughuekK1uprWUbaV8hhpx5wwhtBWo9yRJ86kAXGwQvIu1toKuHnXl+k6tSznpiMwO4aCuhY3C0NG5Lam6h1NepUIX2aF4t56MLLqNmskiC6py4P8AAg+cA+dcP+I6j+O1v7QXeAs3/cVqUDOqTxsPr5BabsBnCwjvz9/+0VPZEXR0jO3Px+1lXWPxTHwTO8TfYS5H6NQJ8DkR+FU7ZZaNs1vgIPccj45KdE7rFnELIOmTZOJlh8CS0ssrP0VdpBPIaj7VaP4bmtGYCfhNuY1B7wfJUbQb1xJxWYbJ2M9cqKGEY1DMjEkZaT2iOJrdq62GkaHzOsNNCfQJWKJ8pswIit+jS7Vmost88Syf4Un8ayH/AIoohkwOdyH1KbGz5t9kxvFuQu1YD4dS6nEEqwj0ZyBkkznlV2z9usq5zAWFptcX3+XDNRnpHRMxXuqfYe0nLW4auG8ltLCgNJ5g9ygSnwNbMjA9paUkHWN16r2JtRu6YbfaMocTiHdzB7wZBHMGsB7CxxaU2DfMKdUULKuk3dNSFKvLcdhWb6APRP7QDkfWjQ9riY8c0FZtbTA9do5oGbvMJQoiMMhRGYg+HeBw51RhvcBZzQCCAVcW16gmAoeE/lVZaRqFEtcNymheVeLxMXTkFC+Rwn6qsvxwnyqTTqFNuYIVjspcBM8Lkn/0Ff5VjVzbyOP+Uf8AILrdkOvSs5n5qnsb1OEDFMAZJBUdB7M1s4CuXna50rj2n1Ty7lZ9FEDmsx8BJ/CvLDeVThA1KhsoKivEokY9BkDkPP4xUnG1rBWOcABYJ1xxKBCQB4DTwioZlVE3zKb2Tsxy8uEstajtLVEpbByk8zrA4mO80xHHlcpmCB0mQ9hbhsjZrduyhloQhA8ydSoniSZJPfVy2mtDRhCm0KSyDp43pwtpsWz2lwt6OCQZSk/WUMXgBzp+hhuekPcq5Hblj+w9ju3bvVMgYsJVmYAA5nxy8xTlZWRUkXSy6XA8fd15FE6Q4WqPtLZzrCy28hSFjgR8QdCO8VOCoinZjicCF45jmmzgo0VcoKVs6yU8620j03FpQnxUQK8c7C0k7kL0wizCUoYb9FOBhH1WwB+MGvl20JHVNQ4DVzgwchr/ALiD3LepwIoxfcL+OnkjNCQAANAIFdc1oa0NGgWSTc3K5uGgtKknRQI99RmiEsZY7Qiy9Y4scHDcgPbOzBcMO2y4BcSWpPqrTm2r3gDyNc5smd1NUtxf0Hm34fEdUclpVcfSRG39Q79fqvO7Vw9buKwqW04klCiCQRwUMu8V9CkhinZZ7Q4a2KxWOcw3abLRdhoRe2Da7/GEW7hUHFH9KjkonMiYBOpwiDM1x9Y51DXOZQ2xSADCB8J9NM+y+llqwjpoQZd2/ihrbm03tpvpZtmyGkZNNjIADLGvgMvIDIamdijpoNlQGWd3XPxO49g3n56nsVmkdUODGDLcFR7a2W5aulp2MQggjRQPEaZajyNalHWRVcQlj09OwpWWF0bsLkd9D2+4tXfkz6oYdV2VE5NrOWfJKsgeRg8zVdZT4xibqPNEbrZFb+FVkphI50IWXb49H6kYnbNOJBzWwNU8+r5p+hw4TkKg5t896y6mhzxx+CArV4SULzjLtDPI6GeI0Iqp7SMws83ab6KeltHsJ8hFQxu4oxu4p3qWyIwjOjG4b0B7hvT+yn8LRyAKFmYEZhh7PzifOs+sbeXmB/yC6rZTrwd59E3bumAKeXJuNySvq3a8Xir034E55lRyGusflVhYSrS0lWOwdiXF8qGRgbBhbyhkOYEaq+iDPMpq5kQGZV8FMZD81sG7mwWbNoNMjvUo+ktXtKPPu0FWE3WwyMMFgrWaFNUO+e9Dez7ZTzmatG0TBWrgPDiTwFWwxGV2EKLjhF15d2rtFy4eW86SpbiipR5k8O4RkByit9jAxoaEvrmUU2G4dwltFwbhq3yCpUpSSidJUBAMd9c7Nt+ndI6ARufuyAN+5PMopAA/EAjG1wPtdTtB+yuEjRaXAFg6d2feCPOsGXpIZeloo5WHgW3HvsIPcng0PbhlLT23WZ72bNZt7gt27vWogGcjhn1cQyUeOg1rsdmVM1RAHzswnvz7bHRZNRG2N9mm6KehvY5XcLu1CU26Yby1dX2Ugc4TJ+7S+3Kz8vTHDqchz3ealSxdJKBu3rb9hW+J0nVLQwg81GZP4/CuM2VT46rFujFu86+d/JadW/DHbe7Pu92RJXUrLSoQhzb9pDmIZJc7JPJQ9E/131ze1afBMHjIPyvwcPhPy5XWnSS3Zh3tz5jf75LEel7YOB9N2kQh/sufRdAz8MQGLxCq6vYtd+YgF/iGRHAjX32rMqoejksNDmFQbA669LNip8IaSVKAPHjA9ojMgcM+VSruhoQ+tbHd5sPfAce5ShLprRXsFd7a3iasEqs7BGFaTDjqh2pHKdT9LQcBoazaPZsleRV1rrg5taNLd3prxKYknbAOjiGe8pq9xXOx+vuAS4wsJacPpLSVJSZPHUieJQDzqcOGl2t0UHwvF3DcDYnu08148mSnxO1Gh4oDBrpwkCMls3RX0kiE2l4vMQll1R15IWefAK46HhOZV0n62d4VjH7itiSuazVaupoQh/ePc+2vO04jC7wdRkrz4KHcoGvbqmWBkmoQHtTo+vGs2Ch9PKcC/crs/veVV9E071nP2e4fCbqhetrlo/O2zyO8oMfeiPjUTAdyXdTvbqPJN2tyCh46eY/ZPDh40lURkSNB99Zq29luw07xwJ/4pq2W6sQ2gqn2ErX8EineiPA+iwmxk6AlXFluhfvj9GpAPrOnqwPs5ufCpCMDW3r9leykldutzRdu/wBGLLUG4WXj7IGFHmJlXmQDyqzK6fZRsBu7NHbLKUJCUgJSBAAEADkANKE0Mk5QvVUbzbws2LJefVAGSUj0lq4JSOJ/DUwKnFE6R2Fq8JAFyvNO9+9D1/cF53JIkNtj0W08hzJ4nieQAFbsMLYm2CXLsRzT2725b92jrcSW2tAtZPa4ZAaicpy86za/bUFI/o7FzuA3c0xDSPkF9ArzrNobIgLwvWxyiSUeGYlsxw9HxrNA2fte+HqyeB+h9eSYJmpdc2qBt7+zbhlb7BNu+mJYjJROWQmO+UnIZlNN0Q2lTzCGXrsP6uHPf49xVcvQPZjZkeCEGmSpQSkFSiQAAJJJMADxNbxNsykl6K3a2MLG1bYEY0dpwj1nljPxCBkPAV8725X9LOSNGZD+o6f6RnzWzRQ4WZ6nXl9/RHmx7Pqmgnic1eJ/y0rT2bS/lqdrDrqeZ+miUqZekkJ3blNp9UJUIUe/tQ6hSDxGR5HgaWq6ZtRC6J2/yO5WQyGN4cED7b2Um5Zdt38gvsLPFCx6Dg89eefOsLZ1Y+lnxPyzwv7DudycMieOfBaNRCJWWbzb8x3fZeer+0dtLhTa5Q8yvhwIzChzGhHMV9CGCaPMXB3LDBLTcIs//KNnv4Xby2Uq4SACUeiuNDGMA+CgeUmuc/wnaNPeKklAjOl9R5Hy5rR6eB/Wkbn6p8Pu7XWE4fk9ixmqCOAMZxGLDw0SM88pqLItjsvfHO/T3ra/e4+UruqTYZNHv3wTfSOi1SzbpbbwOR83GRDWcFYj1jmJz1OsipbAdVOmkdI67d+/rdnIZG2WnYVGrbEGNwjP5IDdbKTCklJyyII1EgkHmM66lrmuF2m6zrFaRuD0ouWwSzd4nWdErGa2xpB9tI944TkKTnow/rMyPqrGyWyctw2XtNq4bS4y4lxCtFJMjw7j3HOspzHNNnBXKaDUV6vtCF8ihCBt+E/36wHtrAPk4n8lGlpWYpGngrGOsCjoUyql9FCF9r1C+E14hBe+3SLbWAKAQ9ccGkH0T/iH1fDXu40zBSvlz0HFRc4Bef8AeTeN+9dLtwvErRKRklA9lI4D4niTW1FC2NtmqgkuzKqFJ5jXSphwQtB6TLdXU2i2s7UNAJw+iDwJjmmAPA865f8AD8jRLM2T+bfPiR/fXuT9aDhbh+Ffeja8W83c2r0rtw0TKj6Ggwg8ARJHLDIqO3oWQyRVMWUmLx96dt17SPL2ujdpZZ6K6pZy0zog3Zlfy5xMhBKbdJ9dzQr8Efj4Vhbc2gaeLAzNzsgO33mfumaWHpH3doNVsexrXrHJ1Q3x9pR1P5+AFcfs6mFRUB2rI9/7nHU/PkAtOpk6Nlt7vIe/mieurWUlQhKhCVCFS7esv1qRMCHE+0nn4j/LlWHtalt/1DRfKzxxb9Rx5Hcn6SX/ALZPI8D9/eqzPpI3R+WNB5kYrhpGUDN5ocI/aJ4DxHKn9hbSwn8vIb72niOPMaEfRU1sH/daOY4FYia69Zy0vdu+F8W7ZpoM2rCAt5sGS6rgnPVBVmZ146iuM2hAaAOqHuxSvJDXftHHnbIW03LVheJbMAs0a9qn2Fg27drdOG4uAZcXqxbAaITPprH5EnDxVmnlipmxi7Gbh+uTiTwB+2asDGukLjmfIfX3ohze+/TtG7at7ZKVEHD13FXtGf2acz35x36+zKd2zaV81QSL54eHDvOnqlp3iaQNYO9Ce2tmKtnlsrKSpGpSZGefl4Vu0lS2pibK0EA8UpIwscQU9sPb9xaOY7d1TauIGio4KSclDxFXSRNkFnBRDiNFqW7nTUkwm8ZIP7RnMeJQTI8ifCs6XZ51YfFWCQLRNj752VzHU3LRJ0SVYVfdVB+FJPgkZqFYDdXwXVSEJ72NYr7Zh5OufBIV/LUHfEF6CiwLqa8TF5tFtpOJ1xDaRqVqCR7ya9DS7IBCDdu9LOz2JCHC+scGhI++YTHgTTUdFK7UWUS8BZfvP0r3l0Choi3bPBskrPi5kfugU/FRRszOarMhOiBW0KWoJSCpSjkkAkk+AzJptzmsbicbAb1AC5RLd7mKYtlP3TyGVx80zqpR5GDllymJExWPHtgT1Aip2Fzf1O3D357rpk0xazE827Fd7KQ3tSxFv2G7u2TLcAAKT4DgcgqNDB4xWbU9Jsus6fMxPOfYftqOy47VezDPFh/UFSbvb3PWQXbuth1oEhTS8ikz2gMjAnVJBHhnWjWbJhrSJo3YXZWcN/D+91VHUmMYHC44Lrbe+eNlTFswi2aX6eCJX3ZJAHfqe+K8pNjdHKJp5DI4aX0HiT73IkqgW4WNsFD3L3YXf3AbEpbT2nnOCEf6joB+QNaNXVMp4i9x0SzGF7sLV6AtbUJS2yynCMIQ2j2Ecz9IjMnlPOvm9VPLVzXHxvyaP2tOp5u8hzC3Io2Qs7Br2n7eqMLG1DSAhPDjzPOuopaZlNEI27vNZcshkcXFP0wq0qEJUISoQkaEIZ2nY9SqRk2TKSP1av8ASf60z5atpDSvxNyYTcH9jv8A5O8fMZ6sM3Stsfi3j9w+qyjpL3Fx47u2RCx2rhpPH/Fb5g6qHnzrqdj7W6UdFNk8ewR2Hcs6pp+j6zfhPksqbdUjNClJJBBwkjI6gxwPKt97GuHWAKVYSCiPam9uK0btLZvqG8PzsGSs8RPsnUzmdNBnk0+ycNS6pndjdfq9g+vDhrro06fqBjRYb1e7rsjZ1gu/cA654YWEnkdPfGI/RA51mbQedo1raNnwNzcfXw0HaVdCBFGZDqdFP6MdnpDbl3cdpVy51SMUHFJlRjjiUDP1DVO3pndI2mhyDBiNt1hl4DTmpUrBYvdvyQ1YbpG6vrtkKDTbKnCVYZCQFEJESMoz8Aa2JtqCmpIpCMTnBuXHLP3xKUbAXyOAyAuhlmyW4V9UhbiUZkoSowOBMDIHvrVdMxlsZAJ4kKnCTomkNzrpVqgXKxtLx9ofNPutj6Dik/gag5jXagLzpXDerBveO6wnFdvqWmC0pTiyUnRRSScpTIpeSmY57CGiwvfw+qm2Y2N0w/vBeK9K7uT3F5cfjV/Qx/tHgo9K471VPAqJUtRUeZM/E1PTReF5KaKaEAom3a3HevGHHm1oASVJSkzKlAAxyAM6z5Vk122IaSZsTwc7G/AFMxU7pG4go27+8bliHkIaQHlGMa09puJChH5HIEaGrazZ8dcWOc44RuByPBEUxivYZoqvU/2ts0OjO8tRCxxWNTkPaAxDL0gQNaxov/yq7oz/ACpNOz+2h7CCUy89PFi/UFn2ytouW7qHmjC0GRyPMHmCMjXSVMEdRGY3jIpNjyw3Ct99tts3byXWmi2ooAcJI7Su4DkMsXHLIRmlsqimpIjHI7EL5dg++ttysqJWyOuBzUTdvYD168llkSTmon0UJ4qUeAH+1PzzNiYXOKoALjYLfthbHZs2EstCUzMkdp5ftq+iNAPKvne1NpGqdi1Zfqt/ef8A5HmfLapqfoxbfvPAfX09TDY2zurBWvNxWp5d1aWzKEwgyy5yO17Oz6/ZK1M+M4W/CFZ1qpVKhCVCEqEJUISoQuXWwoFKhIORFRexr2lrhcFetcWm4Q1eWRZIzOCewvin6Kuaf67q5eppX0jgb9UfC/8Ab/ldxafLyWpHKJgcs9449o7VlvSD0ddZiuLNADnpO26fW442efPB7uR6nZW2BJ/BnyePdxxHp5rNqKbo+uzNvoshWkgkHUZRxroxbVLXurbbG33rvqkvrGFsYQQmAJ1UQnUxGnADKkqWghpcboW5uzOfln8+KtfK59g5GW2tvNfKdm29qsKYYU0ZByUSoJz7wmZ71msSlopfy9TPUCz3h2XAW+voEy+QY2MboLK137WmytrkIPzt86qeYRAxDwjLxWaQ2OHVtRGXDqxNHju8/wDiram0TDxcffvtVPugfk2yL650U782g/uAj7S1e6tDaP8A1G04afc3rH19APFUwjBA5/FRNyti2/yN+9uWlvhpeBLSCeASSogET6XHIAE0xtOtqPzTKSBwYXC+I9+Xl42UIYmGMyPzsnNqbNsrmycu7JKmVsn5xpSpBGUkSTGRkEciIqNPVVlPVNpqohwdo4C3yHveh8Mb4y+PK2oX3dvd3Z1yGWzdu/KHEyW0gABQTiUMRbIyAPGiv2jX02N4iGAHUndewyvdew00L7dbM7lC3rsdnMIcQw8+q5bXhKVjLIwr9WB5zV+z6mvnc18rGiMi9xrmMt5Vc0ELLhrjfh7CJt4XbHZybct2Db3XpxJU4oqjT2gok9ocqyqP87XukD5y3CbEAW9LcEzI2GECzb3VV0iWrKrW0ukspt3nclNAASIJkiBMEDOBkoTwpvY00wqJadz8bW6O198uxVVMbMDXgWvuVjuW2+dkzaCXxc4k5gAwUTikjLDIPdSe1HQDaVqj4Cy3ra3bfRXU4f0F2a3XXSZusXEG8aSA6lI+UtpM8BKgRxTxyzEHhmbC2mI3/lZD1T8BOXd37u3JeVlPcdIO9Au6u8i7F/rUjGkpKVomAocM4yIMGY5866LaOz2VsPRuNjqDwSkEpidcKsvbjrXXHAgIxqKsKZhMmYE01DH0cbWE3sLXO9VPIJurXdTdZ++dwMiEpzcdV6DY5nv5J1PvNQqKmOBhfIUNaXmw1W7bA2GxZMhplJwn0lH031c1ckToPzr5/tPajqvN1+j3N3v+Yb689Ninpuj0+LeeH398yzZOzSD1jnp+qOCR/XuprZ2znNd08/x7huaPfgqqioBGBmnqrettJJUISoQlQhKhCVCEqEJUIXK0AggiQdQai5rXgtcLgr0Eg3Cob7ZpbzTKmxmI9JvvTzHd/wDdc7VbPdBmy5YMxb4mcuI4j+60IqgSZHJ3kefv6IF303EYvh1oKWrg6PJHYc7nUj0VfS15zFaWztuuhAbUG7To8aHn+08QfJUTUdyTHrvasW3g3duLJzBctqQT6KtUrHNKhkofEcYrsIpmStu0rPOtiq1pwpIUDBSQQeR1mrHNDgQd6NDcKz25t567UhT6wShOEQAJ4kwMpPEjupSjoYaQFsIsCbqySV0hGJEG8e2WP7Ls7VhzEoHE8ACIUASQZAmVrMcDhrMoaOb/ABGaombYaN5f2Hmr5ZG9C1jVY7v2t3ZWjV5ZLNwh0/PMBsqCSJBORmRESAOEyKXrJKWsqXUtU3AW/C69r+It69ilF0kTA9mYO5Pb5WDL+zxfG2+Sv4wkoiMcqgyIE5doGAcjrVey55oK40fSdIy178Mu/la69nYx0fSAWKG+jdUbStvFQ96FitXbgvQSd3qFRS5TD3uUXflGHaN0P8Un35/nVmyXYqKI9g8slGoH8R3NH53jeY2LaXDARiTDKitM4QnEiRmOKU++uc/w+KbassMpNj1hY2vex+ZT3TObA1zR2Kt2ltD+0djuPPdX8pYcyOSSRkTGehQo5cSnnTUFOdn7TEUV+jeOfvMa9qre8TQ4jqFSWW9KGtlKtm1OJuFOFWJGUDEnVUg5gRA86fl2Y6baIqHgFgFrHO+R3diqbPhhwA5qh2dt24tw4GXVIDnpxBxa5yRke8Voz0VPOWmVgOHTsVLJntvY6quKaaKqutD3P6MXnsLt3iYZOYRHzrn1Un0AeZ8hxrI2htiClba93HQDMnlx95q6KnfLppxWwWNghlCWGWglKfQZTmAfacV6yucnxriqyrmqpcMgxO3RjQdrz/67t9lqQxMjbcZDe7jyRBs3ZeA43DicPHgnwrUodm9E7ppjik47hy98rJaepxDAzJvqrOtZKpUISoQlQhKhCVCEqEJUISoQlQhKhCrrvZYJKkHCo6iJSr6w/Osyo2a1xL4jhcdRa7Xcx89UzHUkDC/MeY5FUW0bBKkFl9tBQrVt0Ym1d6FeqfwrMjlnoX2acH+Um7D/AEu3cjxzTLmsmFzn2jUcx9Fm28nRI2olVm4WVfsXySn7DoEx9YHxro6X8QsuGVIwO7d/I6Hy5JJ9I4Zs6w81nG3N17uzP94t1oA0XEoPgtMp+NdDFPHJ8JSmhsVTA1chWuxdv3FrPUOqbB1GRSTzKVAie+JpOqoKaqt0zAbePiM1bHM+P4Sndt7x3N3h690rCT2RAAHfhSAJ7zJryk2dTUl+hba+/MnzXksz5PiKj7KvlW7yHm4xoMpxZjSMxPKrqmnZUROifodVBkhY4OCW1r1dw8t9yMazJgQNAMhnyrynp2U8QiZoF5JIXuxFcq2m91PUdYrqQcXVzCZ1kjjnnXv5aLpemwjFpfepY3YcN8lCXFXKC6ZaUtQShJUo5BKQST3AASa8JAzKEa7C6Lbx6Fv4bVs8XfTI7mh2p+thrNrNrU1KLvd798FbHC+T4QtR3c3KtLGFoRLn7d+FL/6aNE+OvfXMV23J5W5fw28TqeTdTzOSeipGg59Y8Bp4oqtLJbmYlAOq1emrw9kf1nWdT0c85xNu0HV7s3u5cBy8SrpJWMyOZ4DQfVXVnZIaEIHieJ8TW9S0cNM3DGOZ3nmkpZnyG7lIppVJUISoQlQhKhCVCEqEJUISoQlQhKhCVCEqELlaARBAIOoNRcxrxhcLhegkG4Vc9sgfq1YR7KhiT7jp5VmSbLaBaI2H7T1m+B07imW1R/WL9uhVe5aLQCMKkg64O2k+KDnFZ35eopvhDm/0nG3/AEnMJjHHJqQeeR8dENbS3NsLkkrtmCr2miWVzzIEAnxBp2DbdW3IFr+y+E+Dvkqn0ceubfMeSGL/AKHrYz1b1yz9dCXE/u4TWo38Rlv86Jw/8TbxF1QaMn4Xgqlf6IF/q75k/XQtH5Kq+P8AEtE79Xy9bKJopxo3zUY9El3wubOP+Yv/AOKmP8foP3jxH1UPyk37SnG+iK49a7tUjuU4o/wCoO/EVCP1jxCBSTk/D78FY2fQ+ifnL1SuYaYJnwUpX5UsfxPTHKMFx7AT8lZ+Rl32HeiKw6LbBrNbTzve+6ED7qMOXdSk236ki7IsI4uIb63U20bN7r8hdFOzLJpkYLdtDY4ptmgCfFcT51jybQqKg4TIT2Rgn/cdOYTLadkeeG3a4/JWlvs1w5wG+8nGv36Cpw7OnccQAZ2nrv8AE5DuXj54xlfF2aBWNrsxCDMFSvaVmf8AatOn2bBC7HbE79xzKWkqHvFtBwCm0+qEqEJUISoQlQhKhCVCEqEJUISoQlQhKhCVCEqEJUISoQlQhKhCaet0L9JKVeIBqqWCKX+Y0HmLqbZHN+E2UU7Jb9XEj6qiPzpT/DIB8GJvJxHzsrfzL/1WPMBRLu1KNHFn62E/imlZ6d0YykceeE+rVdHIHatHn9VT3F2tJiRpxSn/AE1z1VWTRPsCNP2s/wDlPMhY4X+Z+qkWjqlAdqJnRKR/LTlHLLK0Eute+jWj/wBVVIxrTp5n6q2a2aFCVOOnuxQPgK2mUGMXdI89mKw8gEk6fCbBrfBPt7KZHqAn6Xa/GrmbLpGG+AE9ufrdQNTKd/yUxKQMgIHdTzWhosAqSSdV9r1eJUISoQlQhKhCVCEqEJUISoQlQhf/2Q==">
            <a:extLst>
              <a:ext uri="{FF2B5EF4-FFF2-40B4-BE49-F238E27FC236}">
                <a16:creationId xmlns:a16="http://schemas.microsoft.com/office/drawing/2014/main" id="{CF118373-DB48-4D99-8EE3-D5462472C241}"/>
              </a:ext>
            </a:extLst>
          </p:cNvPr>
          <p:cNvSpPr>
            <a:spLocks noChangeAspect="1" noChangeArrowheads="1"/>
          </p:cNvSpPr>
          <p:nvPr/>
        </p:nvSpPr>
        <p:spPr bwMode="auto">
          <a:xfrm>
            <a:off x="1488281" y="120254"/>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endParaRPr lang="en-GB" altLang="nl-NL" sz="1350" dirty="0"/>
          </a:p>
        </p:txBody>
      </p:sp>
      <p:sp>
        <p:nvSpPr>
          <p:cNvPr id="5" name="Footer Placeholder 4">
            <a:extLst>
              <a:ext uri="{FF2B5EF4-FFF2-40B4-BE49-F238E27FC236}">
                <a16:creationId xmlns:a16="http://schemas.microsoft.com/office/drawing/2014/main" id="{8AA6F01B-38C4-9540-82C6-C62FDC8C87E2}"/>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pic>
        <p:nvPicPr>
          <p:cNvPr id="3" name="Picture 2">
            <a:extLst>
              <a:ext uri="{FF2B5EF4-FFF2-40B4-BE49-F238E27FC236}">
                <a16:creationId xmlns:a16="http://schemas.microsoft.com/office/drawing/2014/main" id="{D43C3230-C74C-10F6-DEFF-8B68EE915FB0}"/>
              </a:ext>
            </a:extLst>
          </p:cNvPr>
          <p:cNvPicPr>
            <a:picLocks noChangeAspect="1" noChangeArrowheads="1"/>
          </p:cNvPicPr>
          <p:nvPr/>
        </p:nvPicPr>
        <p:blipFill rotWithShape="1">
          <a:blip r:embed="rId3" cstate="screen">
            <a:duotone>
              <a:prstClr val="black"/>
              <a:schemeClr val="accent1">
                <a:tint val="45000"/>
                <a:satMod val="400000"/>
              </a:schemeClr>
            </a:duotone>
            <a:extLst>
              <a:ext uri="{28A0092B-C50C-407E-A947-70E740481C1C}">
                <a14:useLocalDpi xmlns:a14="http://schemas.microsoft.com/office/drawing/2010/main"/>
              </a:ext>
            </a:extLst>
          </a:blip>
          <a:srcRect r="74123" b="33181"/>
          <a:stretch/>
        </p:blipFill>
        <p:spPr bwMode="auto">
          <a:xfrm>
            <a:off x="7619525" y="1902478"/>
            <a:ext cx="1443055" cy="2555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a16="http://schemas.microsoft.com/office/drawing/2014/main" id="{58DE9A7C-1292-36D6-3A00-5CA2465EA5A3}"/>
              </a:ext>
            </a:extLst>
          </p:cNvPr>
          <p:cNvPicPr>
            <a:picLocks noChangeAspect="1"/>
          </p:cNvPicPr>
          <p:nvPr/>
        </p:nvPicPr>
        <p:blipFill>
          <a:blip r:embed="rId4">
            <a:duotone>
              <a:prstClr val="black"/>
              <a:schemeClr val="accent1">
                <a:tint val="45000"/>
                <a:satMod val="400000"/>
              </a:schemeClr>
            </a:duotone>
          </a:blip>
          <a:stretch>
            <a:fillRect/>
          </a:stretch>
        </p:blipFill>
        <p:spPr>
          <a:xfrm>
            <a:off x="7620550" y="662134"/>
            <a:ext cx="1350500" cy="1033426"/>
          </a:xfrm>
          <a:prstGeom prst="rect">
            <a:avLst/>
          </a:prstGeom>
          <a:effectLst>
            <a:softEdge rad="12700"/>
          </a:effectLst>
        </p:spPr>
      </p:pic>
      <p:sp>
        <p:nvSpPr>
          <p:cNvPr id="4" name="Oval 3">
            <a:extLst>
              <a:ext uri="{FF2B5EF4-FFF2-40B4-BE49-F238E27FC236}">
                <a16:creationId xmlns:a16="http://schemas.microsoft.com/office/drawing/2014/main" id="{8FE6A3B4-734A-DDB5-5E89-48025EF39C7A}"/>
              </a:ext>
            </a:extLst>
          </p:cNvPr>
          <p:cNvSpPr/>
          <p:nvPr/>
        </p:nvSpPr>
        <p:spPr>
          <a:xfrm>
            <a:off x="438150" y="1790700"/>
            <a:ext cx="5686425" cy="1076325"/>
          </a:xfrm>
          <a:prstGeom prst="ellipse">
            <a:avLst/>
          </a:prstGeom>
          <a:noFill/>
          <a:ln w="76200">
            <a:solidFill>
              <a:srgbClr val="92D05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Tree>
    <p:extLst>
      <p:ext uri="{BB962C8B-B14F-4D97-AF65-F5344CB8AC3E}">
        <p14:creationId xmlns:p14="http://schemas.microsoft.com/office/powerpoint/2010/main" val="1757410984"/>
      </p:ext>
    </p:extLst>
  </p:cSld>
  <p:clrMapOvr>
    <a:masterClrMapping/>
  </p:clrMapOvr>
  <p:transition spd="med">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7">
            <a:extLst>
              <a:ext uri="{FF2B5EF4-FFF2-40B4-BE49-F238E27FC236}">
                <a16:creationId xmlns:a16="http://schemas.microsoft.com/office/drawing/2014/main" id="{27B0DC4C-8C91-41FE-A00F-61F1CAD457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00657" y="1128228"/>
            <a:ext cx="3812816" cy="3716796"/>
          </a:xfrm>
          <a:prstGeom prst="rect">
            <a:avLst/>
          </a:prstGeom>
        </p:spPr>
      </p:pic>
      <p:sp>
        <p:nvSpPr>
          <p:cNvPr id="2" name="Footer Placeholder 1">
            <a:extLst>
              <a:ext uri="{FF2B5EF4-FFF2-40B4-BE49-F238E27FC236}">
                <a16:creationId xmlns:a16="http://schemas.microsoft.com/office/drawing/2014/main" id="{BA1F3733-CC3E-4842-AEB6-1E3BF982BAFE}"/>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en-GB" dirty="0">
              <a:solidFill>
                <a:srgbClr val="004D7D"/>
              </a:solidFill>
            </a:endParaRPr>
          </a:p>
        </p:txBody>
      </p:sp>
      <p:sp>
        <p:nvSpPr>
          <p:cNvPr id="4" name="Title 3">
            <a:extLst>
              <a:ext uri="{FF2B5EF4-FFF2-40B4-BE49-F238E27FC236}">
                <a16:creationId xmlns:a16="http://schemas.microsoft.com/office/drawing/2014/main" id="{D243659F-640F-43FF-B232-D13BC7A8F443}"/>
              </a:ext>
            </a:extLst>
          </p:cNvPr>
          <p:cNvSpPr>
            <a:spLocks noGrp="1"/>
          </p:cNvSpPr>
          <p:nvPr>
            <p:ph type="title"/>
          </p:nvPr>
        </p:nvSpPr>
        <p:spPr>
          <a:xfrm>
            <a:off x="792162" y="348775"/>
            <a:ext cx="8274143" cy="430887"/>
          </a:xfrm>
        </p:spPr>
        <p:txBody>
          <a:bodyPr/>
          <a:lstStyle/>
          <a:p>
            <a:r>
              <a:rPr lang="en-GB" sz="2200" dirty="0"/>
              <a:t>Schema </a:t>
            </a:r>
            <a:r>
              <a:rPr lang="en-GB" sz="2200" dirty="0" err="1"/>
              <a:t>gerelateerde</a:t>
            </a:r>
            <a:r>
              <a:rPr lang="en-GB" sz="2200" dirty="0"/>
              <a:t> </a:t>
            </a:r>
            <a:r>
              <a:rPr lang="en-GB" sz="2200" dirty="0" err="1"/>
              <a:t>oorzaken</a:t>
            </a:r>
            <a:r>
              <a:rPr lang="en-GB" sz="2200" dirty="0"/>
              <a:t> van fatigue in de </a:t>
            </a:r>
            <a:r>
              <a:rPr lang="en-GB" sz="2200" dirty="0" err="1"/>
              <a:t>luchtvaart</a:t>
            </a:r>
            <a:r>
              <a:rPr lang="en-GB" sz="2200" dirty="0"/>
              <a:t> </a:t>
            </a:r>
          </a:p>
        </p:txBody>
      </p:sp>
      <p:sp>
        <p:nvSpPr>
          <p:cNvPr id="9" name="Content Placeholder 8">
            <a:extLst>
              <a:ext uri="{FF2B5EF4-FFF2-40B4-BE49-F238E27FC236}">
                <a16:creationId xmlns:a16="http://schemas.microsoft.com/office/drawing/2014/main" id="{6ED5348A-0EF0-4B8E-867F-ED9E029A734D}"/>
              </a:ext>
            </a:extLst>
          </p:cNvPr>
          <p:cNvSpPr>
            <a:spLocks noGrp="1"/>
          </p:cNvSpPr>
          <p:nvPr>
            <p:ph idx="1"/>
          </p:nvPr>
        </p:nvSpPr>
        <p:spPr/>
        <p:txBody>
          <a:bodyPr/>
          <a:lstStyle/>
          <a:p>
            <a:r>
              <a:rPr lang="nl-NL" dirty="0"/>
              <a:t>Korte vluchten (Europa)</a:t>
            </a:r>
          </a:p>
          <a:p>
            <a:pPr lvl="1"/>
            <a:r>
              <a:rPr lang="nl-NL" dirty="0"/>
              <a:t>Lange </a:t>
            </a:r>
            <a:r>
              <a:rPr lang="nl-NL" dirty="0" err="1"/>
              <a:t>duties</a:t>
            </a:r>
            <a:endParaRPr lang="nl-NL" dirty="0"/>
          </a:p>
          <a:p>
            <a:pPr lvl="1"/>
            <a:r>
              <a:rPr lang="nl-NL" dirty="0"/>
              <a:t>Meerdere vluchten per dag</a:t>
            </a:r>
          </a:p>
          <a:p>
            <a:pPr lvl="1"/>
            <a:r>
              <a:rPr lang="nl-NL" dirty="0"/>
              <a:t>Vluchten in de vroege ochtend</a:t>
            </a:r>
          </a:p>
          <a:p>
            <a:endParaRPr lang="nl-NL" dirty="0"/>
          </a:p>
          <a:p>
            <a:r>
              <a:rPr lang="nl-NL" dirty="0"/>
              <a:t>Lange vluchten (intercontinentaal)</a:t>
            </a:r>
          </a:p>
          <a:p>
            <a:pPr lvl="1"/>
            <a:r>
              <a:rPr lang="nl-NL" dirty="0"/>
              <a:t>Nachtvluchten</a:t>
            </a:r>
          </a:p>
          <a:p>
            <a:pPr lvl="1"/>
            <a:r>
              <a:rPr lang="nl-NL" dirty="0"/>
              <a:t>Ultralange vluchten (&gt;13uur)</a:t>
            </a:r>
          </a:p>
          <a:p>
            <a:pPr lvl="1"/>
            <a:r>
              <a:rPr lang="nl-NL" dirty="0"/>
              <a:t>Korte tussenstops</a:t>
            </a:r>
          </a:p>
          <a:p>
            <a:pPr lvl="1"/>
            <a:r>
              <a:rPr lang="nl-NL" dirty="0"/>
              <a:t>Lange </a:t>
            </a:r>
            <a:r>
              <a:rPr lang="nl-NL" dirty="0" err="1"/>
              <a:t>layovers</a:t>
            </a:r>
            <a:endParaRPr lang="nl-NL" dirty="0"/>
          </a:p>
          <a:p>
            <a:pPr lvl="1"/>
            <a:r>
              <a:rPr lang="nl-NL" dirty="0"/>
              <a:t>Meerdere tijdzoneoverschrijdingen</a:t>
            </a:r>
            <a:endParaRPr lang="en-GB" dirty="0"/>
          </a:p>
          <a:p>
            <a:endParaRPr lang="en-GB" dirty="0"/>
          </a:p>
          <a:p>
            <a:endParaRPr lang="en-GB" dirty="0"/>
          </a:p>
          <a:p>
            <a:pPr marL="0" indent="0">
              <a:buNone/>
            </a:pPr>
            <a:endParaRPr lang="en-GB" dirty="0"/>
          </a:p>
        </p:txBody>
      </p:sp>
    </p:spTree>
    <p:extLst>
      <p:ext uri="{BB962C8B-B14F-4D97-AF65-F5344CB8AC3E}">
        <p14:creationId xmlns:p14="http://schemas.microsoft.com/office/powerpoint/2010/main" val="659564729"/>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8E33473-7202-90E3-61F6-FF9D84B30471}"/>
              </a:ext>
            </a:extLst>
          </p:cNvPr>
          <p:cNvSpPr>
            <a:spLocks noGrp="1"/>
          </p:cNvSpPr>
          <p:nvPr>
            <p:ph sz="half" idx="1"/>
          </p:nvPr>
        </p:nvSpPr>
        <p:spPr/>
        <p:txBody>
          <a:bodyPr/>
          <a:lstStyle/>
          <a:p>
            <a:pPr marL="0" indent="0">
              <a:buNone/>
            </a:pPr>
            <a:r>
              <a:rPr lang="en-GB" dirty="0"/>
              <a:t>EASA Flight time limitations </a:t>
            </a:r>
          </a:p>
          <a:p>
            <a:pPr marL="0" indent="0">
              <a:buNone/>
            </a:pPr>
            <a:r>
              <a:rPr lang="en-GB" dirty="0"/>
              <a:t>(2021-2024)</a:t>
            </a:r>
            <a:endParaRPr lang="nl-NL" dirty="0"/>
          </a:p>
          <a:p>
            <a:pPr marL="0" indent="0">
              <a:buNone/>
            </a:pPr>
            <a:endParaRPr lang="nl-NL" dirty="0"/>
          </a:p>
        </p:txBody>
      </p:sp>
      <p:sp>
        <p:nvSpPr>
          <p:cNvPr id="10" name="Content Placeholder 9">
            <a:extLst>
              <a:ext uri="{FF2B5EF4-FFF2-40B4-BE49-F238E27FC236}">
                <a16:creationId xmlns:a16="http://schemas.microsoft.com/office/drawing/2014/main" id="{D19BAE96-BDAF-7403-2486-5DB216D4C4B7}"/>
              </a:ext>
            </a:extLst>
          </p:cNvPr>
          <p:cNvSpPr>
            <a:spLocks noGrp="1"/>
          </p:cNvSpPr>
          <p:nvPr>
            <p:ph sz="half" idx="2"/>
          </p:nvPr>
        </p:nvSpPr>
        <p:spPr/>
        <p:txBody>
          <a:bodyPr/>
          <a:lstStyle/>
          <a:p>
            <a:pPr marL="0" indent="0">
              <a:buNone/>
            </a:pPr>
            <a:r>
              <a:rPr lang="en-GB" dirty="0"/>
              <a:t>EASA Air Traffic Controller fatigue</a:t>
            </a:r>
          </a:p>
          <a:p>
            <a:pPr marL="0" indent="0">
              <a:buNone/>
            </a:pPr>
            <a:r>
              <a:rPr lang="en-GB" dirty="0"/>
              <a:t>(2023-2024)</a:t>
            </a:r>
            <a:endParaRPr lang="nl-NL" dirty="0"/>
          </a:p>
          <a:p>
            <a:pPr marL="0" indent="0">
              <a:buNone/>
            </a:pPr>
            <a:endParaRPr lang="nl-NL" dirty="0"/>
          </a:p>
        </p:txBody>
      </p:sp>
      <p:sp>
        <p:nvSpPr>
          <p:cNvPr id="7" name="Footer Placeholder 6">
            <a:extLst>
              <a:ext uri="{FF2B5EF4-FFF2-40B4-BE49-F238E27FC236}">
                <a16:creationId xmlns:a16="http://schemas.microsoft.com/office/drawing/2014/main" id="{D525983A-3C1D-E01C-BF63-E7B17ABBF68B}"/>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8" name="Title 7">
            <a:extLst>
              <a:ext uri="{FF2B5EF4-FFF2-40B4-BE49-F238E27FC236}">
                <a16:creationId xmlns:a16="http://schemas.microsoft.com/office/drawing/2014/main" id="{0DA4E169-07F9-FD84-705D-75252523DCFE}"/>
              </a:ext>
            </a:extLst>
          </p:cNvPr>
          <p:cNvSpPr>
            <a:spLocks noGrp="1"/>
          </p:cNvSpPr>
          <p:nvPr>
            <p:ph type="title"/>
          </p:nvPr>
        </p:nvSpPr>
        <p:spPr/>
        <p:txBody>
          <a:bodyPr/>
          <a:lstStyle/>
          <a:p>
            <a:r>
              <a:rPr lang="en-GB" dirty="0" err="1"/>
              <a:t>Verschillende</a:t>
            </a:r>
            <a:r>
              <a:rPr lang="en-GB" dirty="0"/>
              <a:t> studies </a:t>
            </a:r>
            <a:r>
              <a:rPr lang="en-GB" dirty="0" err="1"/>
              <a:t>gericht</a:t>
            </a:r>
            <a:r>
              <a:rPr lang="en-GB" dirty="0"/>
              <a:t> op </a:t>
            </a:r>
            <a:r>
              <a:rPr lang="en-GB" dirty="0" err="1"/>
              <a:t>werktijden</a:t>
            </a:r>
            <a:endParaRPr lang="nl-NL" dirty="0"/>
          </a:p>
        </p:txBody>
      </p:sp>
      <p:pic>
        <p:nvPicPr>
          <p:cNvPr id="11" name="Picture 10">
            <a:extLst>
              <a:ext uri="{FF2B5EF4-FFF2-40B4-BE49-F238E27FC236}">
                <a16:creationId xmlns:a16="http://schemas.microsoft.com/office/drawing/2014/main" id="{551F36C3-3F96-48E7-D9FB-61BD11172647}"/>
              </a:ext>
            </a:extLst>
          </p:cNvPr>
          <p:cNvPicPr>
            <a:picLocks noChangeAspect="1"/>
          </p:cNvPicPr>
          <p:nvPr/>
        </p:nvPicPr>
        <p:blipFill>
          <a:blip r:embed="rId2"/>
          <a:srcRect b="29056"/>
          <a:stretch/>
        </p:blipFill>
        <p:spPr>
          <a:xfrm>
            <a:off x="792162" y="2265082"/>
            <a:ext cx="3808800" cy="2018982"/>
          </a:xfrm>
          <a:prstGeom prst="rect">
            <a:avLst/>
          </a:prstGeom>
        </p:spPr>
      </p:pic>
      <p:pic>
        <p:nvPicPr>
          <p:cNvPr id="13" name="Picture 12">
            <a:extLst>
              <a:ext uri="{FF2B5EF4-FFF2-40B4-BE49-F238E27FC236}">
                <a16:creationId xmlns:a16="http://schemas.microsoft.com/office/drawing/2014/main" id="{77B7E2B1-3E4A-004A-30D9-30E520ABCEB5}"/>
              </a:ext>
            </a:extLst>
          </p:cNvPr>
          <p:cNvPicPr>
            <a:picLocks noChangeAspect="1"/>
          </p:cNvPicPr>
          <p:nvPr/>
        </p:nvPicPr>
        <p:blipFill>
          <a:blip r:embed="rId3"/>
          <a:stretch>
            <a:fillRect/>
          </a:stretch>
        </p:blipFill>
        <p:spPr>
          <a:xfrm>
            <a:off x="4756149" y="2265082"/>
            <a:ext cx="3820819" cy="2018982"/>
          </a:xfrm>
          <a:prstGeom prst="rect">
            <a:avLst/>
          </a:prstGeom>
        </p:spPr>
      </p:pic>
    </p:spTree>
    <p:extLst>
      <p:ext uri="{BB962C8B-B14F-4D97-AF65-F5344CB8AC3E}">
        <p14:creationId xmlns:p14="http://schemas.microsoft.com/office/powerpoint/2010/main" val="4213238282"/>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3814BD1-966B-4B49-80BD-A8F37A68EE94}"/>
              </a:ext>
            </a:extLst>
          </p:cNvPr>
          <p:cNvSpPr>
            <a:spLocks noGrp="1"/>
          </p:cNvSpPr>
          <p:nvPr>
            <p:ph idx="1"/>
          </p:nvPr>
        </p:nvSpPr>
        <p:spPr/>
        <p:txBody>
          <a:bodyPr>
            <a:normAutofit/>
          </a:bodyPr>
          <a:lstStyle/>
          <a:p>
            <a:pPr marL="279400" indent="-285750"/>
            <a:r>
              <a:rPr lang="nl-NL" sz="1500" dirty="0"/>
              <a:t>Geschikte luchtvaartmaatschappijen geselecteerd op basis van</a:t>
            </a:r>
          </a:p>
          <a:p>
            <a:pPr marL="552450" lvl="1" indent="-285750"/>
            <a:r>
              <a:rPr lang="nl-NL" sz="1500" dirty="0"/>
              <a:t>Grootte, geografische regio, transporttype</a:t>
            </a:r>
          </a:p>
          <a:p>
            <a:pPr marL="552450" lvl="1" indent="-285750"/>
            <a:r>
              <a:rPr lang="nl-NL" sz="1500" dirty="0"/>
              <a:t>Vluchtschema's en bereidheid tot deelname</a:t>
            </a:r>
          </a:p>
          <a:p>
            <a:pPr marL="279400" indent="-285750"/>
            <a:r>
              <a:rPr lang="nl-NL" sz="1500" dirty="0"/>
              <a:t>Streven naar kwalitatief hoogwaardige data en </a:t>
            </a:r>
            <a:r>
              <a:rPr lang="nl-NL" sz="1500" dirty="0" err="1"/>
              <a:t>within</a:t>
            </a:r>
            <a:r>
              <a:rPr lang="nl-NL" sz="1500" dirty="0"/>
              <a:t> subject analyse </a:t>
            </a:r>
          </a:p>
          <a:p>
            <a:pPr marL="552450" lvl="1" indent="-285750"/>
            <a:r>
              <a:rPr lang="nl-NL" sz="1500" dirty="0" err="1"/>
              <a:t>Tailored</a:t>
            </a:r>
            <a:r>
              <a:rPr lang="nl-NL" sz="1500" dirty="0"/>
              <a:t> procedure per luchtvaartmaatschappij</a:t>
            </a:r>
          </a:p>
          <a:p>
            <a:pPr marL="552450" lvl="1" indent="-285750"/>
            <a:r>
              <a:rPr lang="nl-NL" sz="1500" dirty="0" err="1"/>
              <a:t>dedicated</a:t>
            </a:r>
            <a:r>
              <a:rPr lang="nl-NL" sz="1500" dirty="0"/>
              <a:t> meetapparatuur</a:t>
            </a:r>
          </a:p>
          <a:p>
            <a:pPr marL="552450" lvl="1" indent="-285750"/>
            <a:r>
              <a:rPr lang="nl-NL" sz="1500" dirty="0"/>
              <a:t>Gegevensverzameling tijdens opeenvolgende dagen (2-4 weken)</a:t>
            </a:r>
          </a:p>
          <a:p>
            <a:pPr marL="552450" lvl="1" indent="-285750"/>
            <a:r>
              <a:rPr lang="nl-NL" sz="1500" dirty="0"/>
              <a:t>Real-time datamonitoring en persoonlijk contact</a:t>
            </a:r>
            <a:endParaRPr lang="en-US" sz="1500" dirty="0"/>
          </a:p>
          <a:p>
            <a:endParaRPr lang="en-US" sz="1400" dirty="0"/>
          </a:p>
          <a:p>
            <a:endParaRPr lang="en-US" sz="1400" dirty="0"/>
          </a:p>
          <a:p>
            <a:endParaRPr lang="nl-NL" sz="1400" dirty="0"/>
          </a:p>
        </p:txBody>
      </p:sp>
      <p:sp>
        <p:nvSpPr>
          <p:cNvPr id="4" name="Title 3">
            <a:extLst>
              <a:ext uri="{FF2B5EF4-FFF2-40B4-BE49-F238E27FC236}">
                <a16:creationId xmlns:a16="http://schemas.microsoft.com/office/drawing/2014/main" id="{56F31419-0FFD-487A-BFFE-615D4F60F42D}"/>
              </a:ext>
            </a:extLst>
          </p:cNvPr>
          <p:cNvSpPr>
            <a:spLocks noGrp="1"/>
          </p:cNvSpPr>
          <p:nvPr>
            <p:ph type="title"/>
          </p:nvPr>
        </p:nvSpPr>
        <p:spPr/>
        <p:txBody>
          <a:bodyPr/>
          <a:lstStyle/>
          <a:p>
            <a:r>
              <a:rPr lang="en-GB" dirty="0"/>
              <a:t>EASA Flight Time Limitations study</a:t>
            </a:r>
            <a:endParaRPr lang="nl-NL" dirty="0"/>
          </a:p>
        </p:txBody>
      </p:sp>
      <p:grpSp>
        <p:nvGrpSpPr>
          <p:cNvPr id="17" name="Group 16">
            <a:extLst>
              <a:ext uri="{FF2B5EF4-FFF2-40B4-BE49-F238E27FC236}">
                <a16:creationId xmlns:a16="http://schemas.microsoft.com/office/drawing/2014/main" id="{611587CD-D6E1-4D5B-AC67-BBD7EBCA0EC3}"/>
              </a:ext>
            </a:extLst>
          </p:cNvPr>
          <p:cNvGrpSpPr/>
          <p:nvPr/>
        </p:nvGrpSpPr>
        <p:grpSpPr>
          <a:xfrm>
            <a:off x="14263" y="3253432"/>
            <a:ext cx="3160953" cy="1587777"/>
            <a:chOff x="14263" y="3512529"/>
            <a:chExt cx="3160953" cy="1587777"/>
          </a:xfrm>
        </p:grpSpPr>
        <p:pic>
          <p:nvPicPr>
            <p:cNvPr id="6" name="Picture 5">
              <a:extLst>
                <a:ext uri="{FF2B5EF4-FFF2-40B4-BE49-F238E27FC236}">
                  <a16:creationId xmlns:a16="http://schemas.microsoft.com/office/drawing/2014/main" id="{725CA450-E2C4-419D-8D4D-391FD17E3E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9657" y="3512529"/>
              <a:ext cx="2165559" cy="1587777"/>
            </a:xfrm>
            <a:prstGeom prst="rect">
              <a:avLst/>
            </a:prstGeom>
          </p:spPr>
        </p:pic>
        <p:sp>
          <p:nvSpPr>
            <p:cNvPr id="18" name="Speech Bubble: Rectangle 17">
              <a:extLst>
                <a:ext uri="{FF2B5EF4-FFF2-40B4-BE49-F238E27FC236}">
                  <a16:creationId xmlns:a16="http://schemas.microsoft.com/office/drawing/2014/main" id="{69E344B2-CF2E-4089-8AD7-E0AFC054D6E9}"/>
                </a:ext>
              </a:extLst>
            </p:cNvPr>
            <p:cNvSpPr/>
            <p:nvPr/>
          </p:nvSpPr>
          <p:spPr>
            <a:xfrm>
              <a:off x="14263" y="3512529"/>
              <a:ext cx="951011" cy="612648"/>
            </a:xfrm>
            <a:prstGeom prst="wedgeRectCallout">
              <a:avLst>
                <a:gd name="adj1" fmla="val 49792"/>
                <a:gd name="adj2" fmla="val 83955"/>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t>Max 60 participants per airline</a:t>
              </a:r>
              <a:endParaRPr lang="nl-NL" sz="1000" dirty="0" err="1">
                <a:solidFill>
                  <a:schemeClr val="tx2"/>
                </a:solidFill>
              </a:endParaRPr>
            </a:p>
          </p:txBody>
        </p:sp>
      </p:grpSp>
      <p:grpSp>
        <p:nvGrpSpPr>
          <p:cNvPr id="15" name="Group 14">
            <a:extLst>
              <a:ext uri="{FF2B5EF4-FFF2-40B4-BE49-F238E27FC236}">
                <a16:creationId xmlns:a16="http://schemas.microsoft.com/office/drawing/2014/main" id="{C7B670A7-A55D-45E2-8E32-FBCA2D0AE050}"/>
              </a:ext>
            </a:extLst>
          </p:cNvPr>
          <p:cNvGrpSpPr/>
          <p:nvPr/>
        </p:nvGrpSpPr>
        <p:grpSpPr>
          <a:xfrm>
            <a:off x="3258048" y="3253432"/>
            <a:ext cx="2865490" cy="1566356"/>
            <a:chOff x="3213658" y="3512529"/>
            <a:chExt cx="2865490" cy="1566356"/>
          </a:xfrm>
        </p:grpSpPr>
        <p:pic>
          <p:nvPicPr>
            <p:cNvPr id="8" name="Picture 7">
              <a:extLst>
                <a:ext uri="{FF2B5EF4-FFF2-40B4-BE49-F238E27FC236}">
                  <a16:creationId xmlns:a16="http://schemas.microsoft.com/office/drawing/2014/main" id="{DDBAA394-4AB2-4332-B09F-13BF49DCC34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39859" y="3512529"/>
              <a:ext cx="1517564" cy="926371"/>
            </a:xfrm>
            <a:prstGeom prst="rect">
              <a:avLst/>
            </a:prstGeom>
          </p:spPr>
        </p:pic>
        <p:pic>
          <p:nvPicPr>
            <p:cNvPr id="10" name="Chart Placeholder 10">
              <a:extLst>
                <a:ext uri="{FF2B5EF4-FFF2-40B4-BE49-F238E27FC236}">
                  <a16:creationId xmlns:a16="http://schemas.microsoft.com/office/drawing/2014/main" id="{C7A041A4-5D7D-4AC4-85F2-85EAC598AE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59133" y="3975714"/>
              <a:ext cx="1220015" cy="1103171"/>
            </a:xfrm>
            <a:prstGeom prst="rect">
              <a:avLst/>
            </a:prstGeom>
          </p:spPr>
        </p:pic>
        <p:sp>
          <p:nvSpPr>
            <p:cNvPr id="20" name="Speech Bubble: Rectangle 19">
              <a:extLst>
                <a:ext uri="{FF2B5EF4-FFF2-40B4-BE49-F238E27FC236}">
                  <a16:creationId xmlns:a16="http://schemas.microsoft.com/office/drawing/2014/main" id="{97D23AEA-B06C-4127-9917-80908E365E82}"/>
                </a:ext>
              </a:extLst>
            </p:cNvPr>
            <p:cNvSpPr/>
            <p:nvPr/>
          </p:nvSpPr>
          <p:spPr>
            <a:xfrm>
              <a:off x="3213658" y="3512529"/>
              <a:ext cx="782107" cy="612648"/>
            </a:xfrm>
            <a:prstGeom prst="wedgeRectCallout">
              <a:avLst>
                <a:gd name="adj1" fmla="val 49792"/>
                <a:gd name="adj2" fmla="val 83955"/>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t>Phone + </a:t>
              </a:r>
              <a:r>
                <a:rPr lang="en-US" sz="1000" dirty="0" err="1"/>
                <a:t>actiwatch</a:t>
              </a:r>
              <a:endParaRPr lang="nl-NL" sz="1000" dirty="0" err="1">
                <a:solidFill>
                  <a:schemeClr val="tx2"/>
                </a:solidFill>
              </a:endParaRPr>
            </a:p>
          </p:txBody>
        </p:sp>
      </p:grpSp>
      <p:grpSp>
        <p:nvGrpSpPr>
          <p:cNvPr id="11" name="Group 10">
            <a:extLst>
              <a:ext uri="{FF2B5EF4-FFF2-40B4-BE49-F238E27FC236}">
                <a16:creationId xmlns:a16="http://schemas.microsoft.com/office/drawing/2014/main" id="{A538EAD8-A637-F2DC-FDC5-258DE62C2B3E}"/>
              </a:ext>
            </a:extLst>
          </p:cNvPr>
          <p:cNvGrpSpPr/>
          <p:nvPr/>
        </p:nvGrpSpPr>
        <p:grpSpPr>
          <a:xfrm>
            <a:off x="5880594" y="3253432"/>
            <a:ext cx="3243294" cy="1585907"/>
            <a:chOff x="5880594" y="2539270"/>
            <a:chExt cx="3243294" cy="1585907"/>
          </a:xfrm>
        </p:grpSpPr>
        <p:grpSp>
          <p:nvGrpSpPr>
            <p:cNvPr id="14" name="Group 13">
              <a:extLst>
                <a:ext uri="{FF2B5EF4-FFF2-40B4-BE49-F238E27FC236}">
                  <a16:creationId xmlns:a16="http://schemas.microsoft.com/office/drawing/2014/main" id="{738BBC17-1AB3-4C48-9043-21AB7AE24AE8}"/>
                </a:ext>
              </a:extLst>
            </p:cNvPr>
            <p:cNvGrpSpPr/>
            <p:nvPr/>
          </p:nvGrpSpPr>
          <p:grpSpPr>
            <a:xfrm>
              <a:off x="5880594" y="2539270"/>
              <a:ext cx="3243294" cy="1585907"/>
              <a:chOff x="4941433" y="626903"/>
              <a:chExt cx="3243294" cy="1585907"/>
            </a:xfrm>
          </p:grpSpPr>
          <p:pic>
            <p:nvPicPr>
              <p:cNvPr id="12" name="Picture 11">
                <a:extLst>
                  <a:ext uri="{FF2B5EF4-FFF2-40B4-BE49-F238E27FC236}">
                    <a16:creationId xmlns:a16="http://schemas.microsoft.com/office/drawing/2014/main" id="{E1EEFE88-D04C-45B6-A702-639C81E1B1B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990" r="5765"/>
              <a:stretch/>
            </p:blipFill>
            <p:spPr>
              <a:xfrm>
                <a:off x="5816824" y="633315"/>
                <a:ext cx="2367903" cy="1579495"/>
              </a:xfrm>
              <a:prstGeom prst="rect">
                <a:avLst/>
              </a:prstGeom>
              <a:ln>
                <a:solidFill>
                  <a:schemeClr val="tx2"/>
                </a:solidFill>
              </a:ln>
            </p:spPr>
          </p:pic>
          <p:sp>
            <p:nvSpPr>
              <p:cNvPr id="19" name="Speech Bubble: Rectangle 18">
                <a:extLst>
                  <a:ext uri="{FF2B5EF4-FFF2-40B4-BE49-F238E27FC236}">
                    <a16:creationId xmlns:a16="http://schemas.microsoft.com/office/drawing/2014/main" id="{BB13853C-F451-45F4-8D2B-0832BB4545DC}"/>
                  </a:ext>
                </a:extLst>
              </p:cNvPr>
              <p:cNvSpPr/>
              <p:nvPr/>
            </p:nvSpPr>
            <p:spPr>
              <a:xfrm>
                <a:off x="4941433" y="626903"/>
                <a:ext cx="829427" cy="703219"/>
              </a:xfrm>
              <a:prstGeom prst="wedgeRectCallout">
                <a:avLst>
                  <a:gd name="adj1" fmla="val 49792"/>
                  <a:gd name="adj2" fmla="val 83955"/>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t>Online and onsite instruction</a:t>
                </a:r>
                <a:endParaRPr lang="nl-NL" sz="400" dirty="0">
                  <a:effectLst/>
                </a:endParaRPr>
              </a:p>
            </p:txBody>
          </p:sp>
        </p:grpSp>
        <p:pic>
          <p:nvPicPr>
            <p:cNvPr id="9" name="Picture 8">
              <a:extLst>
                <a:ext uri="{FF2B5EF4-FFF2-40B4-BE49-F238E27FC236}">
                  <a16:creationId xmlns:a16="http://schemas.microsoft.com/office/drawing/2014/main" id="{1B90B651-C76B-15ED-D83A-B44E7C2957FB}"/>
                </a:ext>
              </a:extLst>
            </p:cNvPr>
            <p:cNvPicPr>
              <a:picLocks noChangeAspect="1"/>
            </p:cNvPicPr>
            <p:nvPr/>
          </p:nvPicPr>
          <p:blipFill>
            <a:blip r:embed="rId7"/>
            <a:srcRect t="34075"/>
            <a:stretch/>
          </p:blipFill>
          <p:spPr>
            <a:xfrm>
              <a:off x="7897797" y="2901545"/>
              <a:ext cx="1210851" cy="567365"/>
            </a:xfrm>
            <a:prstGeom prst="rect">
              <a:avLst/>
            </a:prstGeom>
          </p:spPr>
        </p:pic>
      </p:grpSp>
      <p:grpSp>
        <p:nvGrpSpPr>
          <p:cNvPr id="23" name="Group 22">
            <a:extLst>
              <a:ext uri="{FF2B5EF4-FFF2-40B4-BE49-F238E27FC236}">
                <a16:creationId xmlns:a16="http://schemas.microsoft.com/office/drawing/2014/main" id="{406D5DC9-79ED-0461-B5CA-4D6280F4399B}"/>
              </a:ext>
            </a:extLst>
          </p:cNvPr>
          <p:cNvGrpSpPr/>
          <p:nvPr/>
        </p:nvGrpSpPr>
        <p:grpSpPr>
          <a:xfrm>
            <a:off x="8095982" y="385081"/>
            <a:ext cx="940338" cy="2757083"/>
            <a:chOff x="7716998" y="158731"/>
            <a:chExt cx="1427002" cy="4525362"/>
          </a:xfrm>
        </p:grpSpPr>
        <p:pic>
          <p:nvPicPr>
            <p:cNvPr id="3" name="Picture 2" descr="Royal NLR on Twitter: &quot;Kroon op NLR 100 jaar! Ter ere van het 100-jarige  bestaan is door Zijne Majesteit Koning Willem Alexander aan NLR #Koninklijk  predicaat toegekend. NLR mag zich nu Koninklijke">
              <a:extLst>
                <a:ext uri="{FF2B5EF4-FFF2-40B4-BE49-F238E27FC236}">
                  <a16:creationId xmlns:a16="http://schemas.microsoft.com/office/drawing/2014/main" id="{48727DC9-D4CE-A3F8-F2E5-FA4640139B8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716998" y="158731"/>
              <a:ext cx="1427002" cy="14270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IOH | Perosh">
              <a:extLst>
                <a:ext uri="{FF2B5EF4-FFF2-40B4-BE49-F238E27FC236}">
                  <a16:creationId xmlns:a16="http://schemas.microsoft.com/office/drawing/2014/main" id="{3201AE69-72F7-1749-C9EA-C9E9FACAFEF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716998" y="2749301"/>
              <a:ext cx="1427002" cy="6475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File:DLR Logo.svg - Wikimedia Commons">
              <a:extLst>
                <a:ext uri="{FF2B5EF4-FFF2-40B4-BE49-F238E27FC236}">
                  <a16:creationId xmlns:a16="http://schemas.microsoft.com/office/drawing/2014/main" id="{1596F0D3-B77D-E716-35F9-CF36AC17BDDA}"/>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823974" y="1557746"/>
              <a:ext cx="1213050" cy="101400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QS | Stockholm University">
              <a:extLst>
                <a:ext uri="{FF2B5EF4-FFF2-40B4-BE49-F238E27FC236}">
                  <a16:creationId xmlns:a16="http://schemas.microsoft.com/office/drawing/2014/main" id="{75D81B3D-7667-F0CC-2011-792A77D3A71E}"/>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7884634" y="3424727"/>
              <a:ext cx="1259366" cy="1259366"/>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Footer Placeholder 1">
            <a:extLst>
              <a:ext uri="{FF2B5EF4-FFF2-40B4-BE49-F238E27FC236}">
                <a16:creationId xmlns:a16="http://schemas.microsoft.com/office/drawing/2014/main" id="{270CD577-A199-D0D4-CF44-08519691C608}"/>
              </a:ext>
            </a:extLst>
          </p:cNvPr>
          <p:cNvSpPr>
            <a:spLocks noGrp="1"/>
          </p:cNvSpPr>
          <p:nvPr>
            <p:ph type="ftr" sz="quarter" idx="11"/>
          </p:nvPr>
        </p:nvSpPr>
        <p:spPr>
          <a:xfrm>
            <a:off x="4024800" y="4845024"/>
            <a:ext cx="4421400" cy="273844"/>
          </a:xfrm>
        </p:spPr>
        <p:txBody>
          <a:bodyPr/>
          <a:lstStyle/>
          <a:p>
            <a:r>
              <a:rPr lang="nl-NL" noProof="0" dirty="0">
                <a:solidFill>
                  <a:srgbClr val="004D7D"/>
                </a:solidFill>
              </a:rPr>
              <a:t>Onregelmatig Werk en Gezondheid: "Lessen" uit de Luchtvaartsector</a:t>
            </a:r>
            <a:endParaRPr lang="en-GB" noProof="0" dirty="0">
              <a:solidFill>
                <a:srgbClr val="004D7D"/>
              </a:solidFill>
            </a:endParaRPr>
          </a:p>
        </p:txBody>
      </p:sp>
    </p:spTree>
    <p:extLst>
      <p:ext uri="{BB962C8B-B14F-4D97-AF65-F5344CB8AC3E}">
        <p14:creationId xmlns:p14="http://schemas.microsoft.com/office/powerpoint/2010/main" val="8595018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a:extLst>
              <a:ext uri="{FF2B5EF4-FFF2-40B4-BE49-F238E27FC236}">
                <a16:creationId xmlns:a16="http://schemas.microsoft.com/office/drawing/2014/main" id="{194DAC1E-D2D2-4198-8387-DD725BA647C3}"/>
              </a:ext>
            </a:extLst>
          </p:cNvPr>
          <p:cNvSpPr txBox="1">
            <a:spLocks/>
          </p:cNvSpPr>
          <p:nvPr/>
        </p:nvSpPr>
        <p:spPr>
          <a:xfrm>
            <a:off x="5051391" y="1102047"/>
            <a:ext cx="3994951" cy="1017225"/>
          </a:xfrm>
          <a:prstGeom prst="rect">
            <a:avLst/>
          </a:prstGeom>
        </p:spPr>
        <p:txBody>
          <a:bodyPr vert="horz" lIns="91440" tIns="45720" rIns="91440" bIns="45720" rtlCol="0">
            <a:normAutofit/>
          </a:bodyPr>
          <a:lstStyle>
            <a:lvl1pPr marL="26670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1pPr>
            <a:lvl2pPr marL="53975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2pPr>
            <a:lvl3pPr marL="8064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3pPr>
            <a:lvl4pPr marL="1073150" indent="-26670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4pPr>
            <a:lvl5pPr marL="1346200" indent="-273050" algn="l" defTabSz="914400" rtl="0" eaLnBrk="1" latinLnBrk="0" hangingPunct="1">
              <a:spcBef>
                <a:spcPct val="200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400" dirty="0"/>
          </a:p>
          <a:p>
            <a:pPr marL="0" indent="0">
              <a:buNone/>
            </a:pPr>
            <a:endParaRPr lang="en-US" sz="1400" dirty="0"/>
          </a:p>
        </p:txBody>
      </p:sp>
      <p:sp>
        <p:nvSpPr>
          <p:cNvPr id="7" name="Content Placeholder 6">
            <a:extLst>
              <a:ext uri="{FF2B5EF4-FFF2-40B4-BE49-F238E27FC236}">
                <a16:creationId xmlns:a16="http://schemas.microsoft.com/office/drawing/2014/main" id="{537A8D9A-54EF-6116-401D-92F0E63A177B}"/>
              </a:ext>
            </a:extLst>
          </p:cNvPr>
          <p:cNvSpPr>
            <a:spLocks noGrp="1"/>
          </p:cNvSpPr>
          <p:nvPr>
            <p:ph sz="half" idx="1"/>
          </p:nvPr>
        </p:nvSpPr>
        <p:spPr/>
        <p:txBody>
          <a:bodyPr/>
          <a:lstStyle/>
          <a:p>
            <a:r>
              <a:rPr lang="en-US" sz="1400" dirty="0"/>
              <a:t>36 airlines </a:t>
            </a:r>
            <a:r>
              <a:rPr lang="en-US" sz="1400" dirty="0" err="1"/>
              <a:t>benaderd</a:t>
            </a:r>
            <a:endParaRPr lang="en-US" sz="1400" dirty="0"/>
          </a:p>
          <a:p>
            <a:pPr lvl="1"/>
            <a:r>
              <a:rPr lang="en-US" sz="1400" dirty="0"/>
              <a:t>19 </a:t>
            </a:r>
            <a:r>
              <a:rPr lang="en-US" sz="1400" dirty="0" err="1"/>
              <a:t>bereid</a:t>
            </a:r>
            <a:r>
              <a:rPr lang="en-US" sz="1400" dirty="0"/>
              <a:t> tot </a:t>
            </a:r>
            <a:r>
              <a:rPr lang="en-US" sz="1400" dirty="0" err="1"/>
              <a:t>deelname</a:t>
            </a:r>
            <a:endParaRPr lang="en-US" sz="1400" dirty="0"/>
          </a:p>
          <a:p>
            <a:pPr lvl="1"/>
            <a:r>
              <a:rPr lang="en-US" sz="1400" dirty="0"/>
              <a:t>8 </a:t>
            </a:r>
            <a:r>
              <a:rPr lang="en-US" sz="1400" dirty="0" err="1"/>
              <a:t>geselecteerd</a:t>
            </a:r>
            <a:r>
              <a:rPr lang="en-US" sz="1400" dirty="0"/>
              <a:t> op basis van schema’s</a:t>
            </a:r>
          </a:p>
          <a:p>
            <a:r>
              <a:rPr lang="en-US" sz="1400" dirty="0" err="1"/>
              <a:t>Metingen</a:t>
            </a:r>
            <a:r>
              <a:rPr lang="en-US" sz="1400" dirty="0"/>
              <a:t>: </a:t>
            </a:r>
            <a:r>
              <a:rPr lang="en-US" sz="1400" dirty="0" err="1"/>
              <a:t>juli</a:t>
            </a:r>
            <a:r>
              <a:rPr lang="en-US" sz="1400" dirty="0"/>
              <a:t> 2023 – </a:t>
            </a:r>
            <a:r>
              <a:rPr lang="en-US" sz="1400" dirty="0" err="1"/>
              <a:t>juli</a:t>
            </a:r>
            <a:r>
              <a:rPr lang="en-US" sz="1400" dirty="0"/>
              <a:t> 2024</a:t>
            </a:r>
          </a:p>
          <a:p>
            <a:pPr marL="0" indent="0">
              <a:buNone/>
            </a:pPr>
            <a:endParaRPr lang="nl-NL" dirty="0"/>
          </a:p>
        </p:txBody>
      </p:sp>
      <p:sp>
        <p:nvSpPr>
          <p:cNvPr id="2" name="Footer Placeholder 1">
            <a:extLst>
              <a:ext uri="{FF2B5EF4-FFF2-40B4-BE49-F238E27FC236}">
                <a16:creationId xmlns:a16="http://schemas.microsoft.com/office/drawing/2014/main" id="{64127C78-32A2-46B2-9A51-C53E798BE892}"/>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4" name="Title 3">
            <a:extLst>
              <a:ext uri="{FF2B5EF4-FFF2-40B4-BE49-F238E27FC236}">
                <a16:creationId xmlns:a16="http://schemas.microsoft.com/office/drawing/2014/main" id="{076C35B8-69A5-4C95-94C4-B3CDE82F67E3}"/>
              </a:ext>
            </a:extLst>
          </p:cNvPr>
          <p:cNvSpPr>
            <a:spLocks noGrp="1"/>
          </p:cNvSpPr>
          <p:nvPr>
            <p:ph type="title"/>
          </p:nvPr>
        </p:nvSpPr>
        <p:spPr/>
        <p:txBody>
          <a:bodyPr/>
          <a:lstStyle/>
          <a:p>
            <a:r>
              <a:rPr lang="en-US" dirty="0" err="1"/>
              <a:t>Tijdlijn</a:t>
            </a:r>
            <a:r>
              <a:rPr lang="en-US" dirty="0"/>
              <a:t> </a:t>
            </a:r>
            <a:r>
              <a:rPr lang="en-US" dirty="0" err="1"/>
              <a:t>en</a:t>
            </a:r>
            <a:r>
              <a:rPr lang="en-US" dirty="0"/>
              <a:t> </a:t>
            </a:r>
            <a:r>
              <a:rPr lang="en-US" dirty="0" err="1"/>
              <a:t>uitkomsten</a:t>
            </a:r>
            <a:r>
              <a:rPr lang="en-US" dirty="0"/>
              <a:t> </a:t>
            </a:r>
            <a:endParaRPr lang="nl-NL" dirty="0"/>
          </a:p>
        </p:txBody>
      </p:sp>
      <p:pic>
        <p:nvPicPr>
          <p:cNvPr id="6" name="Picture 5">
            <a:extLst>
              <a:ext uri="{FF2B5EF4-FFF2-40B4-BE49-F238E27FC236}">
                <a16:creationId xmlns:a16="http://schemas.microsoft.com/office/drawing/2014/main" id="{03C46F66-BFE0-40A9-AD57-9851014B57B4}"/>
              </a:ext>
            </a:extLst>
          </p:cNvPr>
          <p:cNvPicPr>
            <a:picLocks noChangeAspect="1"/>
          </p:cNvPicPr>
          <p:nvPr/>
        </p:nvPicPr>
        <p:blipFill rotWithShape="1">
          <a:blip r:embed="rId3"/>
          <a:srcRect t="4068" r="34929"/>
          <a:stretch/>
        </p:blipFill>
        <p:spPr>
          <a:xfrm>
            <a:off x="155445" y="2179037"/>
            <a:ext cx="2815530" cy="3024228"/>
          </a:xfrm>
          <a:prstGeom prst="rect">
            <a:avLst/>
          </a:prstGeom>
          <a:ln>
            <a:solidFill>
              <a:schemeClr val="bg2"/>
            </a:solidFill>
          </a:ln>
        </p:spPr>
      </p:pic>
      <p:pic>
        <p:nvPicPr>
          <p:cNvPr id="12" name="Picture 11">
            <a:extLst>
              <a:ext uri="{FF2B5EF4-FFF2-40B4-BE49-F238E27FC236}">
                <a16:creationId xmlns:a16="http://schemas.microsoft.com/office/drawing/2014/main" id="{A59977FA-1397-B81D-05C0-6909AF5EBD3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305" b="4552"/>
          <a:stretch/>
        </p:blipFill>
        <p:spPr bwMode="auto">
          <a:xfrm>
            <a:off x="3406587" y="2184841"/>
            <a:ext cx="5737413" cy="2958658"/>
          </a:xfrm>
          <a:prstGeom prst="rect">
            <a:avLst/>
          </a:prstGeom>
          <a:ln w="9525" cap="flat" cmpd="sng" algn="ctr">
            <a:solidFill>
              <a:sysClr val="window" lastClr="FFFFFF">
                <a:lumMod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200928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8C3DD1-16EE-E5AD-7F71-EBC75AC2C5A2}"/>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5" name="Title 4">
            <a:extLst>
              <a:ext uri="{FF2B5EF4-FFF2-40B4-BE49-F238E27FC236}">
                <a16:creationId xmlns:a16="http://schemas.microsoft.com/office/drawing/2014/main" id="{B5CFD108-7FD3-EB62-B389-72492049929F}"/>
              </a:ext>
            </a:extLst>
          </p:cNvPr>
          <p:cNvSpPr>
            <a:spLocks noGrp="1"/>
          </p:cNvSpPr>
          <p:nvPr>
            <p:ph type="title"/>
          </p:nvPr>
        </p:nvSpPr>
        <p:spPr/>
        <p:txBody>
          <a:bodyPr/>
          <a:lstStyle/>
          <a:p>
            <a:r>
              <a:rPr lang="en-GB" dirty="0" err="1">
                <a:highlight>
                  <a:srgbClr val="FFFFFF"/>
                </a:highlight>
              </a:rPr>
              <a:t>Vandaag</a:t>
            </a:r>
            <a:endParaRPr lang="nl-NL" dirty="0">
              <a:highlight>
                <a:srgbClr val="FFFFFF"/>
              </a:highlight>
            </a:endParaRPr>
          </a:p>
        </p:txBody>
      </p:sp>
      <p:sp>
        <p:nvSpPr>
          <p:cNvPr id="6" name="Content Placeholder 5">
            <a:extLst>
              <a:ext uri="{FF2B5EF4-FFF2-40B4-BE49-F238E27FC236}">
                <a16:creationId xmlns:a16="http://schemas.microsoft.com/office/drawing/2014/main" id="{49F89B94-E1F7-EE7E-7539-DE6E446B3694}"/>
              </a:ext>
            </a:extLst>
          </p:cNvPr>
          <p:cNvSpPr>
            <a:spLocks noGrp="1"/>
          </p:cNvSpPr>
          <p:nvPr>
            <p:ph idx="1"/>
          </p:nvPr>
        </p:nvSpPr>
        <p:spPr/>
        <p:txBody>
          <a:bodyPr/>
          <a:lstStyle/>
          <a:p>
            <a:pPr marL="342900" indent="-342900">
              <a:buFont typeface="+mj-lt"/>
              <a:buAutoNum type="arabicPeriod"/>
            </a:pPr>
            <a:r>
              <a:rPr lang="en-GB" b="1" dirty="0"/>
              <a:t>Impact </a:t>
            </a:r>
            <a:r>
              <a:rPr lang="en-GB" b="1" dirty="0" err="1"/>
              <a:t>onregelmatige</a:t>
            </a:r>
            <a:r>
              <a:rPr lang="en-GB" b="1" dirty="0"/>
              <a:t> </a:t>
            </a:r>
            <a:r>
              <a:rPr lang="en-GB" b="1" dirty="0" err="1"/>
              <a:t>werktijden</a:t>
            </a:r>
            <a:r>
              <a:rPr lang="en-GB" b="1" dirty="0"/>
              <a:t> / </a:t>
            </a:r>
            <a:r>
              <a:rPr lang="en-GB" b="1" dirty="0" err="1"/>
              <a:t>nachtwerk</a:t>
            </a:r>
            <a:endParaRPr lang="en-GB" b="1" dirty="0"/>
          </a:p>
          <a:p>
            <a:pPr marL="342900" indent="-342900">
              <a:buFont typeface="+mj-lt"/>
              <a:buAutoNum type="arabicPeriod"/>
            </a:pPr>
            <a:endParaRPr lang="en-GB" b="1" dirty="0"/>
          </a:p>
          <a:p>
            <a:pPr marL="342900" indent="-342900">
              <a:buFont typeface="+mj-lt"/>
              <a:buAutoNum type="arabicPeriod"/>
            </a:pPr>
            <a:r>
              <a:rPr lang="nl-NL" b="1" dirty="0"/>
              <a:t>Risicogroepen en mogelijkheden voor mitigatie</a:t>
            </a:r>
          </a:p>
          <a:p>
            <a:pPr marL="342900" indent="-342900">
              <a:buFont typeface="+mj-lt"/>
              <a:buAutoNum type="arabicPeriod"/>
            </a:pPr>
            <a:endParaRPr lang="nl-NL" b="1" dirty="0"/>
          </a:p>
          <a:p>
            <a:pPr marL="342900" indent="-342900">
              <a:buFont typeface="+mj-lt"/>
              <a:buAutoNum type="arabicPeriod"/>
            </a:pPr>
            <a:r>
              <a:rPr lang="en-GB" b="1" dirty="0"/>
              <a:t>Werkwijze </a:t>
            </a:r>
            <a:r>
              <a:rPr lang="en-GB" b="1" dirty="0" err="1"/>
              <a:t>luchtvaart</a:t>
            </a:r>
            <a:endParaRPr lang="en-GB" b="1" dirty="0"/>
          </a:p>
          <a:p>
            <a:pPr marL="342900" indent="-342900">
              <a:buFont typeface="+mj-lt"/>
              <a:buAutoNum type="arabicPeriod"/>
            </a:pPr>
            <a:endParaRPr lang="en-GB" b="1" dirty="0"/>
          </a:p>
          <a:p>
            <a:pPr marL="342900" indent="-342900">
              <a:buFont typeface="+mj-lt"/>
              <a:buAutoNum type="arabicPeriod"/>
            </a:pPr>
            <a:r>
              <a:rPr lang="nl-NL" b="1" dirty="0"/>
              <a:t>Toekomstige activiteiten luchtvaart</a:t>
            </a:r>
          </a:p>
          <a:p>
            <a:pPr marL="342900" indent="-342900">
              <a:buFont typeface="+mj-lt"/>
              <a:buAutoNum type="arabicPeriod"/>
            </a:pPr>
            <a:endParaRPr lang="nl-NL" b="1" dirty="0"/>
          </a:p>
          <a:p>
            <a:pPr marL="342900" indent="-342900">
              <a:buFont typeface="+mj-lt"/>
              <a:buAutoNum type="arabicPeriod"/>
            </a:pPr>
            <a:r>
              <a:rPr lang="nl-NL" b="1" dirty="0"/>
              <a:t>Vragen / discussie</a:t>
            </a:r>
          </a:p>
          <a:p>
            <a:pPr marL="342900" indent="-342900">
              <a:buFont typeface="+mj-lt"/>
              <a:buAutoNum type="arabicPeriod"/>
            </a:pPr>
            <a:endParaRPr lang="nl-NL" b="1" dirty="0"/>
          </a:p>
          <a:p>
            <a:endParaRPr lang="nl-NL" b="1" dirty="0"/>
          </a:p>
        </p:txBody>
      </p:sp>
    </p:spTree>
    <p:extLst>
      <p:ext uri="{BB962C8B-B14F-4D97-AF65-F5344CB8AC3E}">
        <p14:creationId xmlns:p14="http://schemas.microsoft.com/office/powerpoint/2010/main" val="3926246131"/>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cord Viewer ] NLSP">
            <a:extLst>
              <a:ext uri="{FF2B5EF4-FFF2-40B4-BE49-F238E27FC236}">
                <a16:creationId xmlns:a16="http://schemas.microsoft.com/office/drawing/2014/main" id="{F97C7C48-B9EF-C36E-E047-91A0A045545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3919" b="3878"/>
          <a:stretch/>
        </p:blipFill>
        <p:spPr bwMode="auto">
          <a:xfrm>
            <a:off x="3028031" y="4424640"/>
            <a:ext cx="702240" cy="6366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8">
            <a:extLst>
              <a:ext uri="{FF2B5EF4-FFF2-40B4-BE49-F238E27FC236}">
                <a16:creationId xmlns:a16="http://schemas.microsoft.com/office/drawing/2014/main" id="{3035FCBE-71CC-FB67-FE13-42B0887B63C6}"/>
              </a:ext>
            </a:extLst>
          </p:cNvPr>
          <p:cNvSpPr/>
          <p:nvPr/>
        </p:nvSpPr>
        <p:spPr>
          <a:xfrm>
            <a:off x="6042684" y="1008491"/>
            <a:ext cx="2693507" cy="2122584"/>
          </a:xfrm>
          <a:prstGeom prst="roundRect">
            <a:avLst>
              <a:gd name="adj" fmla="val 419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r>
              <a:rPr lang="en-GB" sz="2100" b="1" dirty="0">
                <a:solidFill>
                  <a:srgbClr val="007FC2"/>
                </a:solidFill>
                <a:latin typeface="Calibri" panose="020F0502020204030204"/>
              </a:rPr>
            </a:br>
            <a:r>
              <a:rPr lang="en-GB" sz="2100" b="1" dirty="0">
                <a:solidFill>
                  <a:srgbClr val="007FC2"/>
                </a:solidFill>
                <a:latin typeface="Calibri" panose="020F0502020204030204"/>
              </a:rPr>
              <a:t>Data</a:t>
            </a:r>
            <a:r>
              <a:rPr lang="en-GB" sz="2100" b="1" dirty="0">
                <a:solidFill>
                  <a:prstClr val="white"/>
                </a:solidFill>
                <a:latin typeface="Calibri" panose="020F0502020204030204"/>
              </a:rPr>
              <a:t> </a:t>
            </a:r>
            <a:r>
              <a:rPr lang="en-GB" sz="2100" b="1" dirty="0">
                <a:solidFill>
                  <a:srgbClr val="007FC2"/>
                </a:solidFill>
                <a:latin typeface="Calibri" panose="020F0502020204030204"/>
              </a:rPr>
              <a:t>Collection (Objective)</a:t>
            </a:r>
            <a:br>
              <a:rPr lang="en-GB" sz="2100" b="1" dirty="0">
                <a:solidFill>
                  <a:srgbClr val="007FC2"/>
                </a:solidFill>
                <a:latin typeface="Calibri" panose="020F0502020204030204"/>
              </a:rPr>
            </a:br>
            <a:br>
              <a:rPr lang="en-GB" sz="2100" dirty="0">
                <a:solidFill>
                  <a:prstClr val="black">
                    <a:lumMod val="75000"/>
                    <a:lumOff val="25000"/>
                  </a:prstClr>
                </a:solidFill>
                <a:latin typeface="Calibri Light" panose="020F0302020204030204"/>
              </a:rPr>
            </a:br>
            <a:r>
              <a:rPr lang="en-GB" sz="1425" dirty="0">
                <a:solidFill>
                  <a:prstClr val="black">
                    <a:lumMod val="75000"/>
                    <a:lumOff val="25000"/>
                  </a:prstClr>
                </a:solidFill>
                <a:latin typeface="Calibri Light" panose="020F0302020204030204"/>
              </a:rPr>
              <a:t>Using objectives measurements - Continuous eye tracking and a pre- and post-duty performance during shifts involving 5 ATSPs and 20 ATCOs.</a:t>
            </a:r>
            <a:br>
              <a:rPr lang="en-GB" sz="1425" dirty="0">
                <a:solidFill>
                  <a:prstClr val="black">
                    <a:lumMod val="75000"/>
                    <a:lumOff val="25000"/>
                  </a:prstClr>
                </a:solidFill>
                <a:latin typeface="Calibri Light" panose="020F0302020204030204"/>
              </a:rPr>
            </a:br>
            <a:endParaRPr lang="en-US" sz="1425" b="1" dirty="0">
              <a:solidFill>
                <a:srgbClr val="007FC2"/>
              </a:solidFill>
              <a:latin typeface="Calibri" panose="020F0502020204030204"/>
            </a:endParaRPr>
          </a:p>
        </p:txBody>
      </p:sp>
      <p:sp>
        <p:nvSpPr>
          <p:cNvPr id="4" name="Rectangle: Rounded Corners 8">
            <a:extLst>
              <a:ext uri="{FF2B5EF4-FFF2-40B4-BE49-F238E27FC236}">
                <a16:creationId xmlns:a16="http://schemas.microsoft.com/office/drawing/2014/main" id="{FD5B61B0-3AE9-EC7A-C0A1-D9E9E3D26D5E}"/>
              </a:ext>
            </a:extLst>
          </p:cNvPr>
          <p:cNvSpPr/>
          <p:nvPr/>
        </p:nvSpPr>
        <p:spPr>
          <a:xfrm>
            <a:off x="3140174" y="1008491"/>
            <a:ext cx="2693507" cy="2122584"/>
          </a:xfrm>
          <a:prstGeom prst="roundRect">
            <a:avLst>
              <a:gd name="adj" fmla="val 419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r>
              <a:rPr lang="en-GB" sz="2100" b="1" dirty="0">
                <a:solidFill>
                  <a:srgbClr val="007FC2"/>
                </a:solidFill>
                <a:latin typeface="Calibri" panose="020F0502020204030204"/>
              </a:rPr>
            </a:br>
            <a:r>
              <a:rPr lang="en-GB" sz="2100" b="1" dirty="0">
                <a:solidFill>
                  <a:srgbClr val="007FC2"/>
                </a:solidFill>
                <a:latin typeface="Calibri" panose="020F0502020204030204"/>
              </a:rPr>
              <a:t>Data</a:t>
            </a:r>
            <a:r>
              <a:rPr lang="en-GB" sz="2100" b="1" dirty="0">
                <a:solidFill>
                  <a:prstClr val="white"/>
                </a:solidFill>
                <a:latin typeface="Calibri" panose="020F0502020204030204"/>
              </a:rPr>
              <a:t> </a:t>
            </a:r>
            <a:r>
              <a:rPr lang="en-GB" sz="2100" b="1" dirty="0">
                <a:solidFill>
                  <a:srgbClr val="007FC2"/>
                </a:solidFill>
                <a:latin typeface="Calibri" panose="020F0502020204030204"/>
              </a:rPr>
              <a:t>Collection (Subjective)</a:t>
            </a:r>
          </a:p>
          <a:p>
            <a:pPr algn="ctr" defTabSz="685800"/>
            <a:br>
              <a:rPr lang="en-GB" sz="2100" dirty="0">
                <a:solidFill>
                  <a:prstClr val="black">
                    <a:lumMod val="75000"/>
                    <a:lumOff val="25000"/>
                  </a:prstClr>
                </a:solidFill>
                <a:latin typeface="Calibri Light" panose="020F0302020204030204"/>
              </a:rPr>
            </a:br>
            <a:r>
              <a:rPr lang="en-GB" sz="1425" dirty="0">
                <a:solidFill>
                  <a:prstClr val="black">
                    <a:lumMod val="75000"/>
                    <a:lumOff val="25000"/>
                  </a:prstClr>
                </a:solidFill>
                <a:latin typeface="Calibri Light" panose="020F0302020204030204"/>
              </a:rPr>
              <a:t>On fatigue and sleep for at least 10 days involving 6 ATSPs and 216 ATCOs.</a:t>
            </a:r>
            <a:br>
              <a:rPr lang="en-GB" sz="1425" dirty="0">
                <a:solidFill>
                  <a:prstClr val="black">
                    <a:lumMod val="75000"/>
                    <a:lumOff val="25000"/>
                  </a:prstClr>
                </a:solidFill>
                <a:latin typeface="Calibri Light" panose="020F0302020204030204"/>
              </a:rPr>
            </a:br>
            <a:br>
              <a:rPr lang="en-GB" sz="1425" dirty="0">
                <a:solidFill>
                  <a:prstClr val="black">
                    <a:lumMod val="75000"/>
                    <a:lumOff val="25000"/>
                  </a:prstClr>
                </a:solidFill>
                <a:latin typeface="Calibri Light" panose="020F0302020204030204"/>
              </a:rPr>
            </a:br>
            <a:br>
              <a:rPr lang="en-GB" sz="1425" dirty="0">
                <a:solidFill>
                  <a:prstClr val="black">
                    <a:lumMod val="75000"/>
                    <a:lumOff val="25000"/>
                  </a:prstClr>
                </a:solidFill>
                <a:latin typeface="Calibri Light" panose="020F0302020204030204"/>
              </a:rPr>
            </a:br>
            <a:endParaRPr lang="en-US" sz="1425" b="1" dirty="0">
              <a:solidFill>
                <a:srgbClr val="007FC2"/>
              </a:solidFill>
              <a:latin typeface="Calibri" panose="020F0502020204030204"/>
            </a:endParaRPr>
          </a:p>
        </p:txBody>
      </p:sp>
      <p:sp>
        <p:nvSpPr>
          <p:cNvPr id="3" name="Rectangle: Rounded Corners 8">
            <a:extLst>
              <a:ext uri="{FF2B5EF4-FFF2-40B4-BE49-F238E27FC236}">
                <a16:creationId xmlns:a16="http://schemas.microsoft.com/office/drawing/2014/main" id="{85DCC098-9A19-FFF1-6D5A-CE770B50C126}"/>
              </a:ext>
            </a:extLst>
          </p:cNvPr>
          <p:cNvSpPr/>
          <p:nvPr/>
        </p:nvSpPr>
        <p:spPr>
          <a:xfrm>
            <a:off x="237664" y="1008491"/>
            <a:ext cx="2693507" cy="2122584"/>
          </a:xfrm>
          <a:prstGeom prst="roundRect">
            <a:avLst>
              <a:gd name="adj" fmla="val 419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2100" b="1" dirty="0">
                <a:solidFill>
                  <a:srgbClr val="007FC2"/>
                </a:solidFill>
                <a:latin typeface="Calibri" panose="020F0502020204030204"/>
              </a:rPr>
              <a:t>Roster Analysis</a:t>
            </a:r>
            <a:br>
              <a:rPr lang="en-GB" b="1" dirty="0">
                <a:solidFill>
                  <a:srgbClr val="007FC2"/>
                </a:solidFill>
                <a:latin typeface="Calibri" panose="020F0502020204030204"/>
              </a:rPr>
            </a:br>
            <a:br>
              <a:rPr lang="en-GB" b="1" dirty="0">
                <a:solidFill>
                  <a:srgbClr val="007FC2"/>
                </a:solidFill>
                <a:latin typeface="Calibri" panose="020F0502020204030204"/>
              </a:rPr>
            </a:br>
            <a:r>
              <a:rPr lang="en-US" sz="1500" dirty="0">
                <a:solidFill>
                  <a:prstClr val="black">
                    <a:lumMod val="75000"/>
                    <a:lumOff val="25000"/>
                  </a:prstClr>
                </a:solidFill>
                <a:latin typeface="Calibri Light" panose="020F0302020204030204"/>
              </a:rPr>
              <a:t>Involving 16 ATSPs and</a:t>
            </a:r>
            <a:br>
              <a:rPr lang="en-US" sz="1500" dirty="0">
                <a:solidFill>
                  <a:prstClr val="black">
                    <a:lumMod val="75000"/>
                    <a:lumOff val="25000"/>
                  </a:prstClr>
                </a:solidFill>
                <a:latin typeface="Calibri Light" panose="020F0302020204030204"/>
              </a:rPr>
            </a:br>
            <a:r>
              <a:rPr lang="en-US" sz="1500" dirty="0">
                <a:solidFill>
                  <a:prstClr val="black">
                    <a:lumMod val="75000"/>
                    <a:lumOff val="25000"/>
                  </a:prstClr>
                </a:solidFill>
                <a:latin typeface="Calibri Light" panose="020F0302020204030204"/>
              </a:rPr>
              <a:t>24 actual rosters.</a:t>
            </a:r>
            <a:br>
              <a:rPr lang="en-US" sz="1500" dirty="0">
                <a:solidFill>
                  <a:prstClr val="white"/>
                </a:solidFill>
                <a:latin typeface="Calibri" panose="020F0502020204030204"/>
              </a:rPr>
            </a:br>
            <a:br>
              <a:rPr lang="en-US" sz="1875" b="1" dirty="0">
                <a:solidFill>
                  <a:srgbClr val="007FC2"/>
                </a:solidFill>
                <a:latin typeface="Calibri" panose="020F0502020204030204"/>
              </a:rPr>
            </a:br>
            <a:br>
              <a:rPr lang="en-US" sz="1875" b="1" dirty="0">
                <a:solidFill>
                  <a:srgbClr val="007FC2"/>
                </a:solidFill>
                <a:latin typeface="Calibri" panose="020F0502020204030204"/>
              </a:rPr>
            </a:br>
            <a:endParaRPr lang="en-US" sz="1875" b="1" dirty="0">
              <a:solidFill>
                <a:srgbClr val="007FC2"/>
              </a:solidFill>
              <a:latin typeface="Calibri" panose="020F0502020204030204"/>
            </a:endParaRPr>
          </a:p>
        </p:txBody>
      </p:sp>
      <p:grpSp>
        <p:nvGrpSpPr>
          <p:cNvPr id="15" name="Group 14">
            <a:extLst>
              <a:ext uri="{FF2B5EF4-FFF2-40B4-BE49-F238E27FC236}">
                <a16:creationId xmlns:a16="http://schemas.microsoft.com/office/drawing/2014/main" id="{6FADDC3B-F662-41BB-B873-FEC3AEC764E6}"/>
              </a:ext>
            </a:extLst>
          </p:cNvPr>
          <p:cNvGrpSpPr/>
          <p:nvPr/>
        </p:nvGrpSpPr>
        <p:grpSpPr>
          <a:xfrm>
            <a:off x="407810" y="2275278"/>
            <a:ext cx="2339236" cy="1246180"/>
            <a:chOff x="0" y="2872462"/>
            <a:chExt cx="5316141" cy="2109484"/>
          </a:xfrm>
        </p:grpSpPr>
        <p:pic>
          <p:nvPicPr>
            <p:cNvPr id="16" name="Picture 2" descr="SAFTE_FAST">
              <a:extLst>
                <a:ext uri="{FF2B5EF4-FFF2-40B4-BE49-F238E27FC236}">
                  <a16:creationId xmlns:a16="http://schemas.microsoft.com/office/drawing/2014/main" id="{9E863EAC-CE3D-4447-A04F-D07D41C50FA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0" y="2872462"/>
              <a:ext cx="5316141" cy="210948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5708DCAD-CCE0-42F2-89C9-BF13ACE335B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8764" y="2872462"/>
              <a:ext cx="802105" cy="368969"/>
            </a:xfrm>
            <a:prstGeom prst="rect">
              <a:avLst/>
            </a:prstGeom>
            <a:ln>
              <a:noFill/>
            </a:ln>
          </p:spPr>
        </p:pic>
      </p:grpSp>
      <p:pic>
        <p:nvPicPr>
          <p:cNvPr id="25" name="Image 8" descr="Une image contenant texte, capture d’écran, Police, nombre">
            <a:extLst>
              <a:ext uri="{FF2B5EF4-FFF2-40B4-BE49-F238E27FC236}">
                <a16:creationId xmlns:a16="http://schemas.microsoft.com/office/drawing/2014/main" id="{E950525D-91F3-62DA-C952-416EE92D9EB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679" y="3560299"/>
            <a:ext cx="2810226" cy="1034270"/>
          </a:xfrm>
          <a:prstGeom prst="rect">
            <a:avLst/>
          </a:prstGeom>
        </p:spPr>
      </p:pic>
      <p:pic>
        <p:nvPicPr>
          <p:cNvPr id="28" name="Picture 27">
            <a:extLst>
              <a:ext uri="{FF2B5EF4-FFF2-40B4-BE49-F238E27FC236}">
                <a16:creationId xmlns:a16="http://schemas.microsoft.com/office/drawing/2014/main" id="{40EE25E0-19CF-A11B-C518-A8D29AA3973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050015" y="3219622"/>
            <a:ext cx="1420517" cy="1270955"/>
          </a:xfrm>
          <a:prstGeom prst="rect">
            <a:avLst/>
          </a:prstGeom>
          <a:ln>
            <a:noFill/>
          </a:ln>
          <a:effectLst/>
        </p:spPr>
      </p:pic>
      <p:cxnSp>
        <p:nvCxnSpPr>
          <p:cNvPr id="6" name="Straight Connector 5">
            <a:extLst>
              <a:ext uri="{FF2B5EF4-FFF2-40B4-BE49-F238E27FC236}">
                <a16:creationId xmlns:a16="http://schemas.microsoft.com/office/drawing/2014/main" id="{0E338071-F0DD-868C-EF4F-C516EAF6ED78}"/>
              </a:ext>
            </a:extLst>
          </p:cNvPr>
          <p:cNvCxnSpPr/>
          <p:nvPr/>
        </p:nvCxnSpPr>
        <p:spPr>
          <a:xfrm>
            <a:off x="1272898" y="1593143"/>
            <a:ext cx="521375" cy="0"/>
          </a:xfrm>
          <a:prstGeom prst="line">
            <a:avLst/>
          </a:prstGeom>
          <a:ln w="22225">
            <a:solidFill>
              <a:srgbClr val="FBBC3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7413E7E-83EA-C46A-2115-02057A792B25}"/>
              </a:ext>
            </a:extLst>
          </p:cNvPr>
          <p:cNvCxnSpPr/>
          <p:nvPr/>
        </p:nvCxnSpPr>
        <p:spPr>
          <a:xfrm>
            <a:off x="4183327" y="1846592"/>
            <a:ext cx="521375" cy="0"/>
          </a:xfrm>
          <a:prstGeom prst="line">
            <a:avLst/>
          </a:prstGeom>
          <a:ln w="22225">
            <a:solidFill>
              <a:srgbClr val="FBBC39"/>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72BCE72-B98E-5000-40BA-6100FF3C727F}"/>
              </a:ext>
            </a:extLst>
          </p:cNvPr>
          <p:cNvCxnSpPr/>
          <p:nvPr/>
        </p:nvCxnSpPr>
        <p:spPr>
          <a:xfrm>
            <a:off x="7108479" y="1823636"/>
            <a:ext cx="521375" cy="0"/>
          </a:xfrm>
          <a:prstGeom prst="line">
            <a:avLst/>
          </a:prstGeom>
          <a:ln w="22225">
            <a:solidFill>
              <a:srgbClr val="FBBC39"/>
            </a:solidFill>
          </a:ln>
        </p:spPr>
        <p:style>
          <a:lnRef idx="1">
            <a:schemeClr val="accent1"/>
          </a:lnRef>
          <a:fillRef idx="0">
            <a:schemeClr val="accent1"/>
          </a:fillRef>
          <a:effectRef idx="0">
            <a:schemeClr val="accent1"/>
          </a:effectRef>
          <a:fontRef idx="minor">
            <a:schemeClr val="tx1"/>
          </a:fontRef>
        </p:style>
      </p:cxnSp>
      <p:pic>
        <p:nvPicPr>
          <p:cNvPr id="2" name="Picture 11">
            <a:extLst>
              <a:ext uri="{FF2B5EF4-FFF2-40B4-BE49-F238E27FC236}">
                <a16:creationId xmlns:a16="http://schemas.microsoft.com/office/drawing/2014/main" id="{D60BD6F0-6ACC-26F8-BF04-6BF571557E5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475280" y="3216377"/>
            <a:ext cx="1260910" cy="1270955"/>
          </a:xfrm>
          <a:prstGeom prst="rect">
            <a:avLst/>
          </a:prstGeom>
        </p:spPr>
      </p:pic>
      <p:pic>
        <p:nvPicPr>
          <p:cNvPr id="10" name="Picture 8">
            <a:extLst>
              <a:ext uri="{FF2B5EF4-FFF2-40B4-BE49-F238E27FC236}">
                <a16:creationId xmlns:a16="http://schemas.microsoft.com/office/drawing/2014/main" id="{C9701338-40F3-C338-A29A-1A3B6BD9C92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549673" y="2760670"/>
            <a:ext cx="1989479" cy="1871354"/>
          </a:xfrm>
          <a:prstGeom prst="rect">
            <a:avLst/>
          </a:prstGeom>
        </p:spPr>
      </p:pic>
      <p:grpSp>
        <p:nvGrpSpPr>
          <p:cNvPr id="13" name="Group 12">
            <a:extLst>
              <a:ext uri="{FF2B5EF4-FFF2-40B4-BE49-F238E27FC236}">
                <a16:creationId xmlns:a16="http://schemas.microsoft.com/office/drawing/2014/main" id="{CE49988C-85F2-831B-0240-20079FCA7B34}"/>
              </a:ext>
            </a:extLst>
          </p:cNvPr>
          <p:cNvGrpSpPr/>
          <p:nvPr/>
        </p:nvGrpSpPr>
        <p:grpSpPr>
          <a:xfrm rot="16200000">
            <a:off x="5349653" y="761688"/>
            <a:ext cx="893016" cy="1077383"/>
            <a:chOff x="3301814" y="2831707"/>
            <a:chExt cx="1190688" cy="1436511"/>
          </a:xfrm>
        </p:grpSpPr>
        <p:pic>
          <p:nvPicPr>
            <p:cNvPr id="14" name="Graphic 13" descr="Airplane with solid fill">
              <a:extLst>
                <a:ext uri="{FF2B5EF4-FFF2-40B4-BE49-F238E27FC236}">
                  <a16:creationId xmlns:a16="http://schemas.microsoft.com/office/drawing/2014/main" id="{5646DEDF-7727-23B2-97C7-B9B7FE55F8D0}"/>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18994953">
              <a:off x="4027341" y="2974704"/>
              <a:ext cx="465161" cy="465161"/>
            </a:xfrm>
            <a:prstGeom prst="rect">
              <a:avLst/>
            </a:prstGeom>
          </p:spPr>
        </p:pic>
        <p:sp>
          <p:nvSpPr>
            <p:cNvPr id="19" name="Arc 18">
              <a:extLst>
                <a:ext uri="{FF2B5EF4-FFF2-40B4-BE49-F238E27FC236}">
                  <a16:creationId xmlns:a16="http://schemas.microsoft.com/office/drawing/2014/main" id="{EEFFA038-B313-8047-1056-5B1687069AC1}"/>
                </a:ext>
              </a:extLst>
            </p:cNvPr>
            <p:cNvSpPr/>
            <p:nvPr/>
          </p:nvSpPr>
          <p:spPr>
            <a:xfrm rot="3730856">
              <a:off x="3117046" y="3016475"/>
              <a:ext cx="1436511" cy="1066976"/>
            </a:xfrm>
            <a:prstGeom prst="arc">
              <a:avLst>
                <a:gd name="adj1" fmla="val 16200000"/>
                <a:gd name="adj2" fmla="val 52907"/>
              </a:avLst>
            </a:prstGeom>
            <a:ln>
              <a:solidFill>
                <a:srgbClr val="FBBC39"/>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350" dirty="0">
                <a:solidFill>
                  <a:prstClr val="black"/>
                </a:solidFill>
                <a:latin typeface="Calibri" panose="020F0502020204030204"/>
              </a:endParaRPr>
            </a:p>
          </p:txBody>
        </p:sp>
      </p:grpSp>
      <p:sp>
        <p:nvSpPr>
          <p:cNvPr id="21" name="TextBox 20">
            <a:extLst>
              <a:ext uri="{FF2B5EF4-FFF2-40B4-BE49-F238E27FC236}">
                <a16:creationId xmlns:a16="http://schemas.microsoft.com/office/drawing/2014/main" id="{6CDCF6AE-7214-5E55-E846-D3A104F60990}"/>
              </a:ext>
            </a:extLst>
          </p:cNvPr>
          <p:cNvSpPr txBox="1"/>
          <p:nvPr/>
        </p:nvSpPr>
        <p:spPr>
          <a:xfrm>
            <a:off x="5662888" y="623107"/>
            <a:ext cx="4581525" cy="300082"/>
          </a:xfrm>
          <a:prstGeom prst="rect">
            <a:avLst/>
          </a:prstGeom>
          <a:noFill/>
        </p:spPr>
        <p:txBody>
          <a:bodyPr wrap="square">
            <a:spAutoFit/>
          </a:bodyPr>
          <a:lstStyle/>
          <a:p>
            <a:pPr defTabSz="685800"/>
            <a:r>
              <a:rPr lang="en-US" sz="1350" i="1" dirty="0">
                <a:solidFill>
                  <a:prstClr val="black">
                    <a:lumMod val="75000"/>
                    <a:lumOff val="25000"/>
                  </a:prstClr>
                </a:solidFill>
                <a:latin typeface="Calibri Light" panose="020F0302020204030204"/>
              </a:rPr>
              <a:t>Validate subjective measurements</a:t>
            </a:r>
            <a:endParaRPr lang="en-GB" sz="1350" i="1" dirty="0">
              <a:solidFill>
                <a:prstClr val="black"/>
              </a:solidFill>
              <a:latin typeface="Calibri" panose="020F0502020204030204"/>
            </a:endParaRPr>
          </a:p>
        </p:txBody>
      </p:sp>
      <p:sp>
        <p:nvSpPr>
          <p:cNvPr id="26" name="Footer Placeholder 25">
            <a:extLst>
              <a:ext uri="{FF2B5EF4-FFF2-40B4-BE49-F238E27FC236}">
                <a16:creationId xmlns:a16="http://schemas.microsoft.com/office/drawing/2014/main" id="{B7E9AB9D-C9C8-0F3B-139E-C57DE93D586A}"/>
              </a:ext>
            </a:extLst>
          </p:cNvPr>
          <p:cNvSpPr>
            <a:spLocks noGrp="1"/>
          </p:cNvSpPr>
          <p:nvPr>
            <p:ph type="ftr" sz="quarter" idx="11"/>
          </p:nvPr>
        </p:nvSpPr>
        <p:spPr/>
        <p:txBody>
          <a:bodyPr/>
          <a:lstStyle/>
          <a:p>
            <a:r>
              <a:rPr lang="nl-NL" noProof="0" dirty="0">
                <a:solidFill>
                  <a:srgbClr val="004D7D"/>
                </a:solidFill>
              </a:rPr>
              <a:t>Onregelmatig Werk en Gezondheid: "Lessen" uit de Luchtvaartsector</a:t>
            </a:r>
            <a:endParaRPr lang="en-GB" noProof="0" dirty="0">
              <a:solidFill>
                <a:srgbClr val="004D7D"/>
              </a:solidFill>
            </a:endParaRPr>
          </a:p>
        </p:txBody>
      </p:sp>
      <p:sp>
        <p:nvSpPr>
          <p:cNvPr id="29" name="Title 28">
            <a:extLst>
              <a:ext uri="{FF2B5EF4-FFF2-40B4-BE49-F238E27FC236}">
                <a16:creationId xmlns:a16="http://schemas.microsoft.com/office/drawing/2014/main" id="{4B872639-5300-679A-2A5D-02336A69EB82}"/>
              </a:ext>
            </a:extLst>
          </p:cNvPr>
          <p:cNvSpPr>
            <a:spLocks noGrp="1"/>
          </p:cNvSpPr>
          <p:nvPr>
            <p:ph type="title"/>
          </p:nvPr>
        </p:nvSpPr>
        <p:spPr>
          <a:xfrm>
            <a:off x="567462" y="463629"/>
            <a:ext cx="8094138" cy="461665"/>
          </a:xfrm>
        </p:spPr>
        <p:txBody>
          <a:bodyPr/>
          <a:lstStyle/>
          <a:p>
            <a:r>
              <a:rPr lang="en-GB" dirty="0"/>
              <a:t>EASA ATCO fatigue study (2023-24)</a:t>
            </a:r>
            <a:endParaRPr lang="nl-NL" dirty="0"/>
          </a:p>
        </p:txBody>
      </p:sp>
      <p:pic>
        <p:nvPicPr>
          <p:cNvPr id="7" name="Picture 6">
            <a:extLst>
              <a:ext uri="{FF2B5EF4-FFF2-40B4-BE49-F238E27FC236}">
                <a16:creationId xmlns:a16="http://schemas.microsoft.com/office/drawing/2014/main" id="{96B6C39F-5669-E2F9-40EB-7AE70FF519A8}"/>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t="-1" r="68993" b="-17333"/>
          <a:stretch/>
        </p:blipFill>
        <p:spPr>
          <a:xfrm>
            <a:off x="8192724" y="78577"/>
            <a:ext cx="937751" cy="438030"/>
          </a:xfrm>
          <a:prstGeom prst="rect">
            <a:avLst/>
          </a:prstGeom>
        </p:spPr>
      </p:pic>
      <p:pic>
        <p:nvPicPr>
          <p:cNvPr id="11" name="Picture 10">
            <a:extLst>
              <a:ext uri="{FF2B5EF4-FFF2-40B4-BE49-F238E27FC236}">
                <a16:creationId xmlns:a16="http://schemas.microsoft.com/office/drawing/2014/main" id="{3EF02EF6-10C5-C073-1621-C18AD22B191C}"/>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6045267" y="4056858"/>
            <a:ext cx="1420517" cy="893763"/>
          </a:xfrm>
          <a:prstGeom prst="rect">
            <a:avLst/>
          </a:prstGeom>
          <a:ln>
            <a:noFill/>
          </a:ln>
          <a:effectLst/>
        </p:spPr>
      </p:pic>
    </p:spTree>
    <p:extLst>
      <p:ext uri="{BB962C8B-B14F-4D97-AF65-F5344CB8AC3E}">
        <p14:creationId xmlns:p14="http://schemas.microsoft.com/office/powerpoint/2010/main" val="27930947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animBg="1"/>
      <p:bldP spid="2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94A07C7-1722-1034-6C91-DD3AF432C65F}"/>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2" name="Title 1">
            <a:extLst>
              <a:ext uri="{FF2B5EF4-FFF2-40B4-BE49-F238E27FC236}">
                <a16:creationId xmlns:a16="http://schemas.microsoft.com/office/drawing/2014/main" id="{C9FCE2F8-1EF2-963D-D064-CB740202645E}"/>
              </a:ext>
            </a:extLst>
          </p:cNvPr>
          <p:cNvSpPr>
            <a:spLocks noGrp="1"/>
          </p:cNvSpPr>
          <p:nvPr>
            <p:ph type="title"/>
          </p:nvPr>
        </p:nvSpPr>
        <p:spPr/>
        <p:txBody>
          <a:bodyPr/>
          <a:lstStyle/>
          <a:p>
            <a:r>
              <a:rPr lang="en-US" dirty="0"/>
              <a:t>Top 5 </a:t>
            </a:r>
            <a:r>
              <a:rPr lang="en-US" dirty="0" err="1"/>
              <a:t>factoren</a:t>
            </a:r>
            <a:r>
              <a:rPr lang="en-US" dirty="0"/>
              <a:t> die </a:t>
            </a:r>
            <a:r>
              <a:rPr lang="en-US" dirty="0" err="1"/>
              <a:t>bijdragen</a:t>
            </a:r>
            <a:r>
              <a:rPr lang="en-US" dirty="0"/>
              <a:t> </a:t>
            </a:r>
            <a:r>
              <a:rPr lang="en-US" dirty="0" err="1"/>
              <a:t>aan</a:t>
            </a:r>
            <a:r>
              <a:rPr lang="en-US" dirty="0"/>
              <a:t> </a:t>
            </a:r>
            <a:r>
              <a:rPr lang="en-US" dirty="0" err="1"/>
              <a:t>vermoeidheid</a:t>
            </a:r>
            <a:endParaRPr lang="nl-NL" dirty="0"/>
          </a:p>
        </p:txBody>
      </p:sp>
      <p:pic>
        <p:nvPicPr>
          <p:cNvPr id="11" name="Picture 10">
            <a:extLst>
              <a:ext uri="{FF2B5EF4-FFF2-40B4-BE49-F238E27FC236}">
                <a16:creationId xmlns:a16="http://schemas.microsoft.com/office/drawing/2014/main" id="{E5CCC02E-7562-6D2C-E88A-80ED788B4E9C}"/>
              </a:ext>
            </a:extLst>
          </p:cNvPr>
          <p:cNvPicPr>
            <a:picLocks noChangeAspect="1"/>
          </p:cNvPicPr>
          <p:nvPr/>
        </p:nvPicPr>
        <p:blipFill>
          <a:blip r:embed="rId3"/>
          <a:stretch>
            <a:fillRect/>
          </a:stretch>
        </p:blipFill>
        <p:spPr>
          <a:xfrm>
            <a:off x="578774" y="1810378"/>
            <a:ext cx="7986452" cy="3084843"/>
          </a:xfrm>
          <a:prstGeom prst="rect">
            <a:avLst/>
          </a:prstGeom>
        </p:spPr>
      </p:pic>
      <p:sp>
        <p:nvSpPr>
          <p:cNvPr id="12" name="TextBox 11">
            <a:extLst>
              <a:ext uri="{FF2B5EF4-FFF2-40B4-BE49-F238E27FC236}">
                <a16:creationId xmlns:a16="http://schemas.microsoft.com/office/drawing/2014/main" id="{58ED349E-5A2D-C09E-93DB-DD83EC950C99}"/>
              </a:ext>
            </a:extLst>
          </p:cNvPr>
          <p:cNvSpPr txBox="1"/>
          <p:nvPr/>
        </p:nvSpPr>
        <p:spPr>
          <a:xfrm>
            <a:off x="4862469" y="1279463"/>
            <a:ext cx="4159957" cy="1061829"/>
          </a:xfrm>
          <a:prstGeom prst="rect">
            <a:avLst/>
          </a:prstGeom>
          <a:noFill/>
          <a:ln>
            <a:solidFill>
              <a:schemeClr val="accent1"/>
            </a:solidFill>
          </a:ln>
        </p:spPr>
        <p:txBody>
          <a:bodyPr wrap="square">
            <a:spAutoFit/>
          </a:bodyPr>
          <a:lstStyle/>
          <a:p>
            <a:pPr marL="214313" indent="-214313" defTabSz="685800">
              <a:buFont typeface="Arial" panose="020B0604020202020204" pitchFamily="34" charset="0"/>
              <a:buChar char="•"/>
            </a:pPr>
            <a:r>
              <a:rPr lang="en-GB" sz="1050" b="1" dirty="0">
                <a:solidFill>
                  <a:prstClr val="black">
                    <a:lumMod val="75000"/>
                    <a:lumOff val="25000"/>
                  </a:prstClr>
                </a:solidFill>
                <a:latin typeface="+mj-lt"/>
              </a:rPr>
              <a:t>Difficult weather conditions: </a:t>
            </a:r>
            <a:r>
              <a:rPr lang="en-GB" sz="1050" dirty="0">
                <a:solidFill>
                  <a:prstClr val="black">
                    <a:lumMod val="75000"/>
                    <a:lumOff val="25000"/>
                  </a:prstClr>
                </a:solidFill>
                <a:latin typeface="+mj-lt"/>
              </a:rPr>
              <a:t>B</a:t>
            </a:r>
            <a:r>
              <a:rPr lang="nl-NL" sz="1050" dirty="0" err="1">
                <a:solidFill>
                  <a:prstClr val="black">
                    <a:lumMod val="75000"/>
                    <a:lumOff val="25000"/>
                  </a:prstClr>
                </a:solidFill>
                <a:latin typeface="+mj-lt"/>
              </a:rPr>
              <a:t>eperkt</a:t>
            </a:r>
            <a:r>
              <a:rPr lang="nl-NL" sz="1050" dirty="0">
                <a:solidFill>
                  <a:prstClr val="black">
                    <a:lumMod val="75000"/>
                    <a:lumOff val="25000"/>
                  </a:prstClr>
                </a:solidFill>
                <a:latin typeface="+mj-lt"/>
              </a:rPr>
              <a:t> zicht, harde of rukwinden of onweer.</a:t>
            </a:r>
          </a:p>
          <a:p>
            <a:pPr marL="214313" indent="-214313" defTabSz="685800">
              <a:buFont typeface="Arial" panose="020B0604020202020204" pitchFamily="34" charset="0"/>
              <a:buChar char="•"/>
            </a:pPr>
            <a:r>
              <a:rPr lang="en-GB" sz="1050" b="1" dirty="0">
                <a:solidFill>
                  <a:prstClr val="black">
                    <a:lumMod val="75000"/>
                    <a:lumOff val="25000"/>
                  </a:prstClr>
                </a:solidFill>
                <a:latin typeface="+mj-lt"/>
              </a:rPr>
              <a:t>Monotonous traffic situations: </a:t>
            </a:r>
            <a:r>
              <a:rPr lang="en-GB" sz="1050" dirty="0" err="1">
                <a:solidFill>
                  <a:prstClr val="black">
                    <a:lumMod val="75000"/>
                    <a:lumOff val="25000"/>
                  </a:prstClr>
                </a:solidFill>
                <a:latin typeface="+mj-lt"/>
              </a:rPr>
              <a:t>Rustige</a:t>
            </a:r>
            <a:r>
              <a:rPr lang="en-GB" sz="1050" dirty="0">
                <a:solidFill>
                  <a:prstClr val="black">
                    <a:lumMod val="75000"/>
                    <a:lumOff val="25000"/>
                  </a:prstClr>
                </a:solidFill>
                <a:latin typeface="+mj-lt"/>
              </a:rPr>
              <a:t> of </a:t>
            </a:r>
            <a:r>
              <a:rPr lang="en-GB" sz="1050" dirty="0" err="1">
                <a:solidFill>
                  <a:prstClr val="black">
                    <a:lumMod val="75000"/>
                    <a:lumOff val="25000"/>
                  </a:prstClr>
                </a:solidFill>
                <a:latin typeface="+mj-lt"/>
              </a:rPr>
              <a:t>repetitieve</a:t>
            </a:r>
            <a:r>
              <a:rPr lang="en-GB" sz="1050" dirty="0">
                <a:solidFill>
                  <a:prstClr val="black">
                    <a:lumMod val="75000"/>
                    <a:lumOff val="25000"/>
                  </a:prstClr>
                </a:solidFill>
                <a:latin typeface="+mj-lt"/>
              </a:rPr>
              <a:t> </a:t>
            </a:r>
            <a:r>
              <a:rPr lang="en-GB" sz="1050" dirty="0" err="1">
                <a:solidFill>
                  <a:prstClr val="black">
                    <a:lumMod val="75000"/>
                    <a:lumOff val="25000"/>
                  </a:prstClr>
                </a:solidFill>
                <a:latin typeface="+mj-lt"/>
              </a:rPr>
              <a:t>werkomstandigheden</a:t>
            </a:r>
            <a:r>
              <a:rPr lang="en-GB" sz="1050" dirty="0">
                <a:solidFill>
                  <a:prstClr val="black">
                    <a:lumMod val="75000"/>
                    <a:lumOff val="25000"/>
                  </a:prstClr>
                </a:solidFill>
                <a:latin typeface="+mj-lt"/>
              </a:rPr>
              <a:t>.</a:t>
            </a:r>
          </a:p>
          <a:p>
            <a:pPr marL="214313" indent="-214313" defTabSz="685800">
              <a:buFont typeface="Arial" panose="020B0604020202020204" pitchFamily="34" charset="0"/>
              <a:buChar char="•"/>
            </a:pPr>
            <a:r>
              <a:rPr lang="en-GB" sz="1050" b="1" dirty="0">
                <a:solidFill>
                  <a:prstClr val="black">
                    <a:lumMod val="75000"/>
                    <a:lumOff val="25000"/>
                  </a:prstClr>
                </a:solidFill>
                <a:latin typeface="+mj-lt"/>
              </a:rPr>
              <a:t>Sleep debt: </a:t>
            </a:r>
            <a:r>
              <a:rPr lang="nl-NL" sz="1050" dirty="0">
                <a:solidFill>
                  <a:prstClr val="black">
                    <a:lumMod val="75000"/>
                    <a:lumOff val="25000"/>
                  </a:prstClr>
                </a:solidFill>
                <a:latin typeface="+mj-lt"/>
              </a:rPr>
              <a:t>Percentage van de slaapduur ten opzichte van de bijbehorende individuele slaapbehoefte.</a:t>
            </a:r>
            <a:endParaRPr lang="en-GB" sz="1050" dirty="0">
              <a:solidFill>
                <a:prstClr val="black">
                  <a:lumMod val="75000"/>
                  <a:lumOff val="25000"/>
                </a:prstClr>
              </a:solidFill>
              <a:latin typeface="+mj-lt"/>
            </a:endParaRPr>
          </a:p>
        </p:txBody>
      </p:sp>
    </p:spTree>
    <p:extLst>
      <p:ext uri="{BB962C8B-B14F-4D97-AF65-F5344CB8AC3E}">
        <p14:creationId xmlns:p14="http://schemas.microsoft.com/office/powerpoint/2010/main" val="3917242892"/>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1E94DC-A70E-92FA-9E70-2791B779591C}"/>
              </a:ext>
            </a:extLst>
          </p:cNvPr>
          <p:cNvPicPr>
            <a:picLocks noChangeAspect="1"/>
          </p:cNvPicPr>
          <p:nvPr/>
        </p:nvPicPr>
        <p:blipFill>
          <a:blip r:embed="rId3"/>
          <a:srcRect b="5396"/>
          <a:stretch/>
        </p:blipFill>
        <p:spPr>
          <a:xfrm>
            <a:off x="2215960" y="884696"/>
            <a:ext cx="5867628" cy="1929155"/>
          </a:xfrm>
          <a:prstGeom prst="rect">
            <a:avLst/>
          </a:prstGeom>
        </p:spPr>
      </p:pic>
      <p:sp>
        <p:nvSpPr>
          <p:cNvPr id="4" name="Footer Placeholder 3">
            <a:extLst>
              <a:ext uri="{FF2B5EF4-FFF2-40B4-BE49-F238E27FC236}">
                <a16:creationId xmlns:a16="http://schemas.microsoft.com/office/drawing/2014/main" id="{1EB878EB-405C-4CBE-9E76-2219E8334FA6}"/>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sp>
        <p:nvSpPr>
          <p:cNvPr id="2" name="Title 1"/>
          <p:cNvSpPr>
            <a:spLocks noGrp="1"/>
          </p:cNvSpPr>
          <p:nvPr>
            <p:ph type="title"/>
          </p:nvPr>
        </p:nvSpPr>
        <p:spPr>
          <a:xfrm>
            <a:off x="792162" y="148720"/>
            <a:ext cx="8095163" cy="830997"/>
          </a:xfrm>
        </p:spPr>
        <p:txBody>
          <a:bodyPr/>
          <a:lstStyle/>
          <a:p>
            <a:r>
              <a:rPr lang="en-GB" dirty="0" err="1"/>
              <a:t>Beleid</a:t>
            </a:r>
            <a:r>
              <a:rPr lang="en-GB" dirty="0"/>
              <a:t> is </a:t>
            </a:r>
            <a:r>
              <a:rPr lang="en-GB" dirty="0" err="1"/>
              <a:t>gestoeld</a:t>
            </a:r>
            <a:r>
              <a:rPr lang="en-GB" dirty="0"/>
              <a:t> op Fatigue Risk Management (FRMS)</a:t>
            </a:r>
          </a:p>
        </p:txBody>
      </p:sp>
      <p:pic>
        <p:nvPicPr>
          <p:cNvPr id="10242" name="Picture 2" descr="http://www.skybrary.aero/images/FRMS.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1694" y="994739"/>
            <a:ext cx="1398272" cy="181911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s://veiligheidsvisie.files.wordpress.com/2014/08/sw_aligned.gif">
            <a:extLst>
              <a:ext uri="{FF2B5EF4-FFF2-40B4-BE49-F238E27FC236}">
                <a16:creationId xmlns:a16="http://schemas.microsoft.com/office/drawing/2014/main" id="{57119F89-2122-4D98-9F3C-FD8DE9AB164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10" t="9735" r="2007" b="22410"/>
          <a:stretch/>
        </p:blipFill>
        <p:spPr bwMode="auto">
          <a:xfrm>
            <a:off x="4352924" y="3164103"/>
            <a:ext cx="2925053" cy="154021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2926D84-1EE9-A992-1B7F-E56DD7239950}"/>
              </a:ext>
            </a:extLst>
          </p:cNvPr>
          <p:cNvPicPr>
            <a:picLocks noChangeAspect="1"/>
          </p:cNvPicPr>
          <p:nvPr/>
        </p:nvPicPr>
        <p:blipFill>
          <a:blip r:embed="rId6"/>
          <a:stretch>
            <a:fillRect/>
          </a:stretch>
        </p:blipFill>
        <p:spPr>
          <a:xfrm>
            <a:off x="711694" y="2956357"/>
            <a:ext cx="3313106" cy="2116490"/>
          </a:xfrm>
          <a:prstGeom prst="rect">
            <a:avLst/>
          </a:prstGeom>
        </p:spPr>
      </p:pic>
    </p:spTree>
    <p:extLst>
      <p:ext uri="{BB962C8B-B14F-4D97-AF65-F5344CB8AC3E}">
        <p14:creationId xmlns:p14="http://schemas.microsoft.com/office/powerpoint/2010/main" val="25019423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1E94DC-A70E-92FA-9E70-2791B779591C}"/>
              </a:ext>
            </a:extLst>
          </p:cNvPr>
          <p:cNvPicPr>
            <a:picLocks noChangeAspect="1"/>
          </p:cNvPicPr>
          <p:nvPr/>
        </p:nvPicPr>
        <p:blipFill>
          <a:blip r:embed="rId3"/>
          <a:srcRect b="5396"/>
          <a:stretch/>
        </p:blipFill>
        <p:spPr>
          <a:xfrm>
            <a:off x="2215960" y="884696"/>
            <a:ext cx="5867628" cy="1929155"/>
          </a:xfrm>
          <a:prstGeom prst="rect">
            <a:avLst/>
          </a:prstGeom>
        </p:spPr>
      </p:pic>
      <p:sp>
        <p:nvSpPr>
          <p:cNvPr id="4" name="Footer Placeholder 3">
            <a:extLst>
              <a:ext uri="{FF2B5EF4-FFF2-40B4-BE49-F238E27FC236}">
                <a16:creationId xmlns:a16="http://schemas.microsoft.com/office/drawing/2014/main" id="{1EB878EB-405C-4CBE-9E76-2219E8334FA6}"/>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sp>
        <p:nvSpPr>
          <p:cNvPr id="5" name="Content Placeholder 4">
            <a:extLst>
              <a:ext uri="{FF2B5EF4-FFF2-40B4-BE49-F238E27FC236}">
                <a16:creationId xmlns:a16="http://schemas.microsoft.com/office/drawing/2014/main" id="{EE697C3F-905C-3A88-C53F-FB9A49FF957A}"/>
              </a:ext>
            </a:extLst>
          </p:cNvPr>
          <p:cNvSpPr>
            <a:spLocks noGrp="1"/>
          </p:cNvSpPr>
          <p:nvPr>
            <p:ph idx="1"/>
          </p:nvPr>
        </p:nvSpPr>
        <p:spPr>
          <a:xfrm>
            <a:off x="792163" y="1030411"/>
            <a:ext cx="7773988" cy="3541589"/>
          </a:xfrm>
        </p:spPr>
        <p:txBody>
          <a:bodyPr/>
          <a:lstStyle/>
          <a:p>
            <a:endParaRPr lang="en-GB" dirty="0"/>
          </a:p>
          <a:p>
            <a:endParaRPr lang="nl-NL" dirty="0"/>
          </a:p>
          <a:p>
            <a:endParaRPr lang="nl-NL" dirty="0"/>
          </a:p>
          <a:p>
            <a:endParaRPr lang="nl-NL" dirty="0"/>
          </a:p>
          <a:p>
            <a:endParaRPr lang="nl-NL" dirty="0"/>
          </a:p>
          <a:p>
            <a:endParaRPr lang="nl-NL" dirty="0"/>
          </a:p>
          <a:p>
            <a:r>
              <a:rPr lang="en-GB" dirty="0" err="1"/>
              <a:t>Voornamelijk</a:t>
            </a:r>
            <a:r>
              <a:rPr lang="en-GB" dirty="0"/>
              <a:t> </a:t>
            </a:r>
            <a:r>
              <a:rPr lang="en-GB" dirty="0" err="1"/>
              <a:t>gericht</a:t>
            </a:r>
            <a:r>
              <a:rPr lang="en-GB" dirty="0"/>
              <a:t> op </a:t>
            </a:r>
            <a:r>
              <a:rPr lang="en-GB" dirty="0" err="1"/>
              <a:t>vliegend</a:t>
            </a:r>
            <a:r>
              <a:rPr lang="en-GB" dirty="0"/>
              <a:t> </a:t>
            </a:r>
            <a:r>
              <a:rPr lang="en-GB" dirty="0" err="1"/>
              <a:t>personeel</a:t>
            </a:r>
            <a:r>
              <a:rPr lang="en-GB" dirty="0"/>
              <a:t> / air traffic controllers</a:t>
            </a:r>
          </a:p>
          <a:p>
            <a:pPr lvl="1">
              <a:buFont typeface="Wingdings" panose="05000000000000000000" pitchFamily="2" charset="2"/>
              <a:buChar char="Ø"/>
            </a:pPr>
            <a:r>
              <a:rPr lang="en-GB" dirty="0"/>
              <a:t>In </a:t>
            </a:r>
            <a:r>
              <a:rPr lang="en-GB" dirty="0" err="1"/>
              <a:t>mindere</a:t>
            </a:r>
            <a:r>
              <a:rPr lang="en-GB" dirty="0"/>
              <a:t> mate </a:t>
            </a:r>
            <a:r>
              <a:rPr lang="en-GB" dirty="0" err="1"/>
              <a:t>voor</a:t>
            </a:r>
            <a:r>
              <a:rPr lang="en-GB" dirty="0"/>
              <a:t> </a:t>
            </a:r>
            <a:r>
              <a:rPr lang="en-GB" dirty="0" err="1"/>
              <a:t>grondpersoneel</a:t>
            </a:r>
            <a:endParaRPr lang="en-GB" dirty="0"/>
          </a:p>
          <a:p>
            <a:r>
              <a:rPr lang="en-GB" dirty="0" err="1"/>
              <a:t>Vooral</a:t>
            </a:r>
            <a:r>
              <a:rPr lang="en-GB" dirty="0"/>
              <a:t> op </a:t>
            </a:r>
            <a:r>
              <a:rPr lang="en-GB" dirty="0" err="1"/>
              <a:t>korte</a:t>
            </a:r>
            <a:r>
              <a:rPr lang="en-GB" dirty="0"/>
              <a:t> </a:t>
            </a:r>
            <a:r>
              <a:rPr lang="en-GB" dirty="0" err="1"/>
              <a:t>termijn</a:t>
            </a:r>
            <a:r>
              <a:rPr lang="en-GB" dirty="0"/>
              <a:t> </a:t>
            </a:r>
            <a:r>
              <a:rPr lang="en-GB" dirty="0" err="1"/>
              <a:t>effecten</a:t>
            </a:r>
            <a:r>
              <a:rPr lang="en-GB" dirty="0"/>
              <a:t> (</a:t>
            </a:r>
            <a:r>
              <a:rPr lang="en-GB" dirty="0" err="1"/>
              <a:t>veiligheid</a:t>
            </a:r>
            <a:r>
              <a:rPr lang="en-GB" dirty="0"/>
              <a:t>)</a:t>
            </a:r>
          </a:p>
          <a:p>
            <a:pPr lvl="1">
              <a:buFont typeface="Wingdings" panose="05000000000000000000" pitchFamily="2" charset="2"/>
              <a:buChar char="Ø"/>
            </a:pPr>
            <a:r>
              <a:rPr lang="en-GB" dirty="0" err="1"/>
              <a:t>Niet</a:t>
            </a:r>
            <a:r>
              <a:rPr lang="en-GB" dirty="0"/>
              <a:t> op </a:t>
            </a:r>
            <a:r>
              <a:rPr lang="en-GB" dirty="0" err="1"/>
              <a:t>lange</a:t>
            </a:r>
            <a:r>
              <a:rPr lang="en-GB" dirty="0"/>
              <a:t> </a:t>
            </a:r>
            <a:r>
              <a:rPr lang="en-GB" dirty="0" err="1"/>
              <a:t>termijn</a:t>
            </a:r>
            <a:r>
              <a:rPr lang="en-GB" dirty="0"/>
              <a:t> </a:t>
            </a:r>
            <a:r>
              <a:rPr lang="en-GB" dirty="0" err="1"/>
              <a:t>gezondheidseffecten</a:t>
            </a:r>
            <a:endParaRPr lang="nl-NL" dirty="0"/>
          </a:p>
          <a:p>
            <a:endParaRPr lang="nl-NL" dirty="0"/>
          </a:p>
        </p:txBody>
      </p:sp>
      <p:sp>
        <p:nvSpPr>
          <p:cNvPr id="2" name="Title 1"/>
          <p:cNvSpPr>
            <a:spLocks noGrp="1"/>
          </p:cNvSpPr>
          <p:nvPr>
            <p:ph type="title"/>
          </p:nvPr>
        </p:nvSpPr>
        <p:spPr>
          <a:xfrm>
            <a:off x="792162" y="333386"/>
            <a:ext cx="8027987" cy="461665"/>
          </a:xfrm>
        </p:spPr>
        <p:txBody>
          <a:bodyPr/>
          <a:lstStyle/>
          <a:p>
            <a:r>
              <a:rPr lang="en-GB" dirty="0" err="1"/>
              <a:t>Beleid</a:t>
            </a:r>
            <a:r>
              <a:rPr lang="en-GB" dirty="0"/>
              <a:t> is </a:t>
            </a:r>
            <a:r>
              <a:rPr lang="en-GB" dirty="0" err="1"/>
              <a:t>gestoeld</a:t>
            </a:r>
            <a:r>
              <a:rPr lang="en-GB" dirty="0"/>
              <a:t> op Fatigue Risk Management (FRMS)</a:t>
            </a:r>
          </a:p>
        </p:txBody>
      </p:sp>
      <p:pic>
        <p:nvPicPr>
          <p:cNvPr id="10242" name="Picture 2" descr="http://www.skybrary.aero/images/FRMS.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1694" y="994739"/>
            <a:ext cx="1398272" cy="1819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44625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A90E0E3-B33F-7F70-4A82-729E9D6E9865}"/>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3" name="Content Placeholder 2">
            <a:extLst>
              <a:ext uri="{FF2B5EF4-FFF2-40B4-BE49-F238E27FC236}">
                <a16:creationId xmlns:a16="http://schemas.microsoft.com/office/drawing/2014/main" id="{9AAC6BC7-DB50-76DE-07F9-2FC567296809}"/>
              </a:ext>
            </a:extLst>
          </p:cNvPr>
          <p:cNvSpPr>
            <a:spLocks noGrp="1"/>
          </p:cNvSpPr>
          <p:nvPr>
            <p:ph idx="1"/>
          </p:nvPr>
        </p:nvSpPr>
        <p:spPr>
          <a:xfrm>
            <a:off x="792163" y="1030411"/>
            <a:ext cx="4721533" cy="3436055"/>
          </a:xfrm>
        </p:spPr>
        <p:txBody>
          <a:bodyPr>
            <a:normAutofit fontScale="85000" lnSpcReduction="10000"/>
          </a:bodyPr>
          <a:lstStyle/>
          <a:p>
            <a:r>
              <a:rPr lang="nl-NL" dirty="0" err="1"/>
              <a:t>uGhent</a:t>
            </a:r>
            <a:r>
              <a:rPr lang="nl-NL" dirty="0"/>
              <a:t> </a:t>
            </a:r>
            <a:r>
              <a:rPr lang="nl-NL" dirty="0" err="1"/>
              <a:t>Study</a:t>
            </a:r>
            <a:r>
              <a:rPr lang="nl-NL" dirty="0"/>
              <a:t> (2025) </a:t>
            </a:r>
          </a:p>
          <a:p>
            <a:r>
              <a:rPr lang="en-GB" dirty="0"/>
              <a:t>Atypically employed crew (low-cost)</a:t>
            </a:r>
          </a:p>
          <a:p>
            <a:pPr lvl="1">
              <a:buFontTx/>
              <a:buChar char="-"/>
            </a:pPr>
            <a:r>
              <a:rPr lang="nl-NL" dirty="0"/>
              <a:t>Hogere baanonzekerheid</a:t>
            </a:r>
          </a:p>
          <a:p>
            <a:pPr lvl="1">
              <a:buFontTx/>
              <a:buChar char="-"/>
            </a:pPr>
            <a:r>
              <a:rPr lang="nl-NL" dirty="0"/>
              <a:t>Minder vakbondsbescherming</a:t>
            </a:r>
          </a:p>
          <a:p>
            <a:pPr lvl="1">
              <a:buFontTx/>
              <a:buChar char="-"/>
            </a:pPr>
            <a:r>
              <a:rPr lang="nl-NL" dirty="0"/>
              <a:t>Minder bereid om vermoeidheid en veiligheidsrisico's te melden</a:t>
            </a:r>
            <a:endParaRPr lang="en-US" dirty="0"/>
          </a:p>
          <a:p>
            <a:pPr lvl="1">
              <a:buFontTx/>
              <a:buChar char="-"/>
            </a:pPr>
            <a:r>
              <a:rPr lang="en-US" dirty="0" err="1"/>
              <a:t>Lagere</a:t>
            </a:r>
            <a:r>
              <a:rPr lang="en-US" dirty="0"/>
              <a:t> </a:t>
            </a:r>
            <a:r>
              <a:rPr lang="en-US" dirty="0" err="1"/>
              <a:t>algemene</a:t>
            </a:r>
            <a:r>
              <a:rPr lang="en-US" dirty="0"/>
              <a:t> </a:t>
            </a:r>
            <a:r>
              <a:rPr lang="en-US" dirty="0" err="1"/>
              <a:t>gezondheid</a:t>
            </a:r>
            <a:endParaRPr lang="en-US" dirty="0"/>
          </a:p>
          <a:p>
            <a:pPr lvl="1">
              <a:buFontTx/>
              <a:buChar char="-"/>
            </a:pPr>
            <a:r>
              <a:rPr lang="en-US" dirty="0"/>
              <a:t>Lager </a:t>
            </a:r>
            <a:r>
              <a:rPr lang="en-US" dirty="0" err="1"/>
              <a:t>welbevinden</a:t>
            </a:r>
            <a:endParaRPr lang="en-GB" dirty="0"/>
          </a:p>
          <a:p>
            <a:endParaRPr lang="en-GB" dirty="0"/>
          </a:p>
          <a:p>
            <a:r>
              <a:rPr lang="en-GB" dirty="0" err="1"/>
              <a:t>Verhoogd</a:t>
            </a:r>
            <a:r>
              <a:rPr lang="en-GB" dirty="0"/>
              <a:t> </a:t>
            </a:r>
            <a:r>
              <a:rPr lang="en-GB" dirty="0" err="1"/>
              <a:t>risico</a:t>
            </a:r>
            <a:r>
              <a:rPr lang="en-GB" dirty="0"/>
              <a:t> op </a:t>
            </a:r>
            <a:r>
              <a:rPr lang="en-GB" dirty="0" err="1"/>
              <a:t>mentale</a:t>
            </a:r>
            <a:r>
              <a:rPr lang="en-GB" dirty="0"/>
              <a:t> </a:t>
            </a:r>
            <a:r>
              <a:rPr lang="en-GB" dirty="0" err="1"/>
              <a:t>gezondheidsproblemen</a:t>
            </a:r>
            <a:endParaRPr lang="en-GB" dirty="0"/>
          </a:p>
          <a:p>
            <a:pPr lvl="1"/>
            <a:r>
              <a:rPr lang="en-GB" dirty="0" err="1"/>
              <a:t>Angststoornis</a:t>
            </a:r>
            <a:r>
              <a:rPr lang="en-GB" dirty="0"/>
              <a:t> (11%) (Wu et al., 2016)</a:t>
            </a:r>
          </a:p>
          <a:p>
            <a:pPr lvl="1"/>
            <a:r>
              <a:rPr lang="en-GB" dirty="0" err="1"/>
              <a:t>Depressie</a:t>
            </a:r>
            <a:r>
              <a:rPr lang="en-GB" dirty="0"/>
              <a:t> (13%) </a:t>
            </a:r>
            <a:r>
              <a:rPr lang="en-GB" dirty="0" err="1"/>
              <a:t>en</a:t>
            </a:r>
            <a:r>
              <a:rPr lang="en-GB" dirty="0"/>
              <a:t> </a:t>
            </a:r>
            <a:r>
              <a:rPr lang="en-GB" dirty="0" err="1"/>
              <a:t>alcoholgebruik</a:t>
            </a:r>
            <a:r>
              <a:rPr lang="en-GB" dirty="0"/>
              <a:t> (Percheron et al., 2025)</a:t>
            </a:r>
            <a:endParaRPr lang="en-US" dirty="0"/>
          </a:p>
        </p:txBody>
      </p:sp>
      <p:sp>
        <p:nvSpPr>
          <p:cNvPr id="4" name="Title 3">
            <a:extLst>
              <a:ext uri="{FF2B5EF4-FFF2-40B4-BE49-F238E27FC236}">
                <a16:creationId xmlns:a16="http://schemas.microsoft.com/office/drawing/2014/main" id="{9CA2DAD2-5711-4CF7-FECA-FFA6B46ED7B1}"/>
              </a:ext>
            </a:extLst>
          </p:cNvPr>
          <p:cNvSpPr>
            <a:spLocks noGrp="1"/>
          </p:cNvSpPr>
          <p:nvPr>
            <p:ph type="title"/>
          </p:nvPr>
        </p:nvSpPr>
        <p:spPr/>
        <p:txBody>
          <a:bodyPr/>
          <a:lstStyle/>
          <a:p>
            <a:r>
              <a:rPr lang="en-GB" dirty="0"/>
              <a:t>Maar is </a:t>
            </a:r>
            <a:r>
              <a:rPr lang="en-GB" dirty="0" err="1"/>
              <a:t>wel</a:t>
            </a:r>
            <a:r>
              <a:rPr lang="en-GB" dirty="0"/>
              <a:t> </a:t>
            </a:r>
            <a:r>
              <a:rPr lang="en-GB" dirty="0" err="1"/>
              <a:t>nodig</a:t>
            </a:r>
            <a:r>
              <a:rPr lang="en-GB" dirty="0"/>
              <a:t> - </a:t>
            </a:r>
            <a:r>
              <a:rPr lang="en-GB" dirty="0" err="1"/>
              <a:t>vliegend</a:t>
            </a:r>
            <a:r>
              <a:rPr lang="en-GB" dirty="0"/>
              <a:t> </a:t>
            </a:r>
            <a:r>
              <a:rPr lang="en-GB" dirty="0" err="1"/>
              <a:t>personeel</a:t>
            </a:r>
            <a:r>
              <a:rPr lang="en-GB" dirty="0"/>
              <a:t> </a:t>
            </a:r>
            <a:endParaRPr lang="nl-NL" dirty="0"/>
          </a:p>
        </p:txBody>
      </p:sp>
      <p:pic>
        <p:nvPicPr>
          <p:cNvPr id="8" name="Picture 7">
            <a:extLst>
              <a:ext uri="{FF2B5EF4-FFF2-40B4-BE49-F238E27FC236}">
                <a16:creationId xmlns:a16="http://schemas.microsoft.com/office/drawing/2014/main" id="{C1E635CD-E380-6B3B-032C-0335EA9290FA}"/>
              </a:ext>
            </a:extLst>
          </p:cNvPr>
          <p:cNvPicPr>
            <a:picLocks noChangeAspect="1"/>
          </p:cNvPicPr>
          <p:nvPr/>
        </p:nvPicPr>
        <p:blipFill>
          <a:blip r:embed="rId3"/>
          <a:stretch>
            <a:fillRect/>
          </a:stretch>
        </p:blipFill>
        <p:spPr>
          <a:xfrm>
            <a:off x="5513696" y="995842"/>
            <a:ext cx="3630304" cy="3875595"/>
          </a:xfrm>
          <a:prstGeom prst="rect">
            <a:avLst/>
          </a:prstGeom>
        </p:spPr>
      </p:pic>
      <p:pic>
        <p:nvPicPr>
          <p:cNvPr id="10" name="Picture 9">
            <a:extLst>
              <a:ext uri="{FF2B5EF4-FFF2-40B4-BE49-F238E27FC236}">
                <a16:creationId xmlns:a16="http://schemas.microsoft.com/office/drawing/2014/main" id="{7A085C06-59F4-631F-A225-A20B8C6F01D7}"/>
              </a:ext>
            </a:extLst>
          </p:cNvPr>
          <p:cNvPicPr>
            <a:picLocks noChangeAspect="1"/>
          </p:cNvPicPr>
          <p:nvPr/>
        </p:nvPicPr>
        <p:blipFill>
          <a:blip r:embed="rId4"/>
          <a:stretch>
            <a:fillRect/>
          </a:stretch>
        </p:blipFill>
        <p:spPr>
          <a:xfrm>
            <a:off x="1125052" y="4466466"/>
            <a:ext cx="3630305" cy="652402"/>
          </a:xfrm>
          <a:prstGeom prst="rect">
            <a:avLst/>
          </a:prstGeom>
        </p:spPr>
      </p:pic>
    </p:spTree>
    <p:extLst>
      <p:ext uri="{BB962C8B-B14F-4D97-AF65-F5344CB8AC3E}">
        <p14:creationId xmlns:p14="http://schemas.microsoft.com/office/powerpoint/2010/main" val="33368130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A0F8172-3ED7-265A-1FC0-C941BCF2A429}"/>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3" name="Content Placeholder 2">
            <a:extLst>
              <a:ext uri="{FF2B5EF4-FFF2-40B4-BE49-F238E27FC236}">
                <a16:creationId xmlns:a16="http://schemas.microsoft.com/office/drawing/2014/main" id="{1C1196BE-4EE0-D7C7-BA9A-F7F35244BC8B}"/>
              </a:ext>
            </a:extLst>
          </p:cNvPr>
          <p:cNvSpPr>
            <a:spLocks noGrp="1"/>
          </p:cNvSpPr>
          <p:nvPr>
            <p:ph idx="1"/>
          </p:nvPr>
        </p:nvSpPr>
        <p:spPr>
          <a:xfrm>
            <a:off x="792163" y="1030411"/>
            <a:ext cx="7773988" cy="3903539"/>
          </a:xfrm>
        </p:spPr>
        <p:txBody>
          <a:bodyPr>
            <a:normAutofit lnSpcReduction="10000"/>
          </a:bodyPr>
          <a:lstStyle/>
          <a:p>
            <a:pPr marL="0" indent="0">
              <a:buNone/>
            </a:pPr>
            <a:r>
              <a:rPr lang="en-GB" dirty="0" err="1"/>
              <a:t>Vanuit</a:t>
            </a:r>
            <a:r>
              <a:rPr lang="en-GB" dirty="0"/>
              <a:t> EU / EASA, </a:t>
            </a:r>
            <a:r>
              <a:rPr lang="en-GB" dirty="0" err="1"/>
              <a:t>o.a.</a:t>
            </a:r>
            <a:endParaRPr lang="en-GB" dirty="0"/>
          </a:p>
          <a:p>
            <a:r>
              <a:rPr lang="en-GB" dirty="0"/>
              <a:t>Effect of current age limitations for pilots</a:t>
            </a:r>
          </a:p>
          <a:p>
            <a:r>
              <a:rPr lang="nl-NL" dirty="0"/>
              <a:t>MESAFE (</a:t>
            </a:r>
            <a:r>
              <a:rPr lang="nl-NL" dirty="0" err="1"/>
              <a:t>Mental</a:t>
            </a:r>
            <a:r>
              <a:rPr lang="nl-NL" dirty="0"/>
              <a:t> health) </a:t>
            </a:r>
          </a:p>
          <a:p>
            <a:pPr marL="0" indent="0">
              <a:buNone/>
            </a:pPr>
            <a:r>
              <a:rPr lang="nl-NL" dirty="0"/>
              <a:t>Vanuit lidstaten</a:t>
            </a:r>
          </a:p>
          <a:p>
            <a:r>
              <a:rPr lang="nl-NL" dirty="0" err="1"/>
              <a:t>Skyguide</a:t>
            </a:r>
            <a:r>
              <a:rPr lang="nl-NL" dirty="0"/>
              <a:t> (SUI) / effect van ophogen pensioenleeftijd bij </a:t>
            </a:r>
            <a:r>
              <a:rPr lang="nl-NL" dirty="0" err="1"/>
              <a:t>ATCOs</a:t>
            </a:r>
            <a:endParaRPr lang="nl-NL" dirty="0"/>
          </a:p>
          <a:p>
            <a:pPr marL="0" indent="0">
              <a:buNone/>
            </a:pPr>
            <a:endParaRPr lang="en-GB" dirty="0"/>
          </a:p>
          <a:p>
            <a:pPr marL="0" indent="0">
              <a:buNone/>
            </a:pPr>
            <a:r>
              <a:rPr lang="en-GB" dirty="0"/>
              <a:t>Airlines </a:t>
            </a:r>
            <a:r>
              <a:rPr lang="en-GB" dirty="0" err="1"/>
              <a:t>en</a:t>
            </a:r>
            <a:r>
              <a:rPr lang="en-GB" dirty="0"/>
              <a:t> ATSPs (</a:t>
            </a:r>
            <a:r>
              <a:rPr lang="en-GB" dirty="0" err="1"/>
              <a:t>luchtvaartnavigatiedienstverleners</a:t>
            </a:r>
            <a:r>
              <a:rPr lang="en-GB" dirty="0"/>
              <a:t>)</a:t>
            </a:r>
          </a:p>
          <a:p>
            <a:r>
              <a:rPr lang="en-GB" dirty="0"/>
              <a:t>Specifieke </a:t>
            </a:r>
            <a:r>
              <a:rPr lang="en-GB" dirty="0" err="1"/>
              <a:t>werk</a:t>
            </a:r>
            <a:r>
              <a:rPr lang="en-GB" dirty="0"/>
              <a:t>- </a:t>
            </a:r>
            <a:r>
              <a:rPr lang="en-GB" dirty="0" err="1"/>
              <a:t>en</a:t>
            </a:r>
            <a:r>
              <a:rPr lang="en-GB" dirty="0"/>
              <a:t> </a:t>
            </a:r>
            <a:r>
              <a:rPr lang="en-GB" dirty="0" err="1"/>
              <a:t>rusttijden</a:t>
            </a:r>
            <a:r>
              <a:rPr lang="en-GB" dirty="0"/>
              <a:t> &gt; CAO buffer</a:t>
            </a:r>
          </a:p>
          <a:p>
            <a:pPr lvl="2"/>
            <a:r>
              <a:rPr lang="en-GB" dirty="0" err="1"/>
              <a:t>Vooral</a:t>
            </a:r>
            <a:r>
              <a:rPr lang="en-GB" dirty="0"/>
              <a:t> </a:t>
            </a:r>
            <a:r>
              <a:rPr lang="en-GB" dirty="0" err="1"/>
              <a:t>vliegend</a:t>
            </a:r>
            <a:r>
              <a:rPr lang="en-GB" dirty="0"/>
              <a:t> </a:t>
            </a:r>
            <a:r>
              <a:rPr lang="en-GB" dirty="0" err="1"/>
              <a:t>personeel</a:t>
            </a:r>
            <a:endParaRPr lang="en-GB" dirty="0"/>
          </a:p>
          <a:p>
            <a:pPr lvl="2"/>
            <a:r>
              <a:rPr lang="en-GB" dirty="0" err="1"/>
              <a:t>Geldt</a:t>
            </a:r>
            <a:r>
              <a:rPr lang="en-GB" dirty="0"/>
              <a:t> </a:t>
            </a:r>
            <a:r>
              <a:rPr lang="en-GB" dirty="0" err="1"/>
              <a:t>niet</a:t>
            </a:r>
            <a:r>
              <a:rPr lang="en-GB" dirty="0"/>
              <a:t> </a:t>
            </a:r>
            <a:r>
              <a:rPr lang="en-GB" dirty="0" err="1"/>
              <a:t>voor</a:t>
            </a:r>
            <a:r>
              <a:rPr lang="en-GB" dirty="0"/>
              <a:t> “low-cost” airlines</a:t>
            </a:r>
          </a:p>
          <a:p>
            <a:r>
              <a:rPr lang="en-GB" dirty="0" err="1"/>
              <a:t>Leeftijdsgebonden</a:t>
            </a:r>
            <a:r>
              <a:rPr lang="en-GB" dirty="0"/>
              <a:t> </a:t>
            </a:r>
            <a:r>
              <a:rPr lang="en-GB" dirty="0" err="1"/>
              <a:t>regelingen</a:t>
            </a:r>
            <a:endParaRPr lang="en-GB" dirty="0"/>
          </a:p>
          <a:p>
            <a:pPr lvl="2"/>
            <a:r>
              <a:rPr lang="en-GB" dirty="0" err="1"/>
              <a:t>Eerder</a:t>
            </a:r>
            <a:r>
              <a:rPr lang="en-GB" dirty="0"/>
              <a:t> met </a:t>
            </a:r>
            <a:r>
              <a:rPr lang="en-GB" dirty="0" err="1"/>
              <a:t>pensioen</a:t>
            </a:r>
            <a:r>
              <a:rPr lang="en-GB" dirty="0"/>
              <a:t> / </a:t>
            </a:r>
            <a:r>
              <a:rPr lang="en-GB" dirty="0" err="1"/>
              <a:t>eerder</a:t>
            </a:r>
            <a:r>
              <a:rPr lang="en-GB" dirty="0"/>
              <a:t> </a:t>
            </a:r>
            <a:r>
              <a:rPr lang="en-GB" dirty="0" err="1"/>
              <a:t>nachtdienst</a:t>
            </a:r>
            <a:r>
              <a:rPr lang="en-GB" dirty="0"/>
              <a:t> laten </a:t>
            </a:r>
            <a:r>
              <a:rPr lang="en-GB" dirty="0" err="1"/>
              <a:t>vallen</a:t>
            </a:r>
            <a:endParaRPr lang="en-GB" dirty="0"/>
          </a:p>
          <a:p>
            <a:endParaRPr lang="nl-NL" dirty="0"/>
          </a:p>
        </p:txBody>
      </p:sp>
      <p:sp>
        <p:nvSpPr>
          <p:cNvPr id="4" name="Title 3">
            <a:extLst>
              <a:ext uri="{FF2B5EF4-FFF2-40B4-BE49-F238E27FC236}">
                <a16:creationId xmlns:a16="http://schemas.microsoft.com/office/drawing/2014/main" id="{AA6682AD-0945-4E88-787E-7AD874A1C386}"/>
              </a:ext>
            </a:extLst>
          </p:cNvPr>
          <p:cNvSpPr>
            <a:spLocks noGrp="1"/>
          </p:cNvSpPr>
          <p:nvPr>
            <p:ph type="title"/>
          </p:nvPr>
        </p:nvSpPr>
        <p:spPr/>
        <p:txBody>
          <a:bodyPr/>
          <a:lstStyle/>
          <a:p>
            <a:r>
              <a:rPr lang="en-GB" dirty="0"/>
              <a:t>Onderzoek / </a:t>
            </a:r>
            <a:r>
              <a:rPr lang="en-GB" dirty="0" err="1"/>
              <a:t>maatregelen</a:t>
            </a:r>
            <a:endParaRPr lang="nl-NL" dirty="0"/>
          </a:p>
        </p:txBody>
      </p:sp>
      <p:pic>
        <p:nvPicPr>
          <p:cNvPr id="1026" name="Picture 2" descr="MESAFE conference">
            <a:extLst>
              <a:ext uri="{FF2B5EF4-FFF2-40B4-BE49-F238E27FC236}">
                <a16:creationId xmlns:a16="http://schemas.microsoft.com/office/drawing/2014/main" id="{A37B87D7-102D-06E2-C566-4E86526AEE0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207" r="19295"/>
          <a:stretch/>
        </p:blipFill>
        <p:spPr bwMode="auto">
          <a:xfrm>
            <a:off x="6035674" y="963736"/>
            <a:ext cx="3108326" cy="12419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brain, alzheimer's, dementia, neuroscience, gears, thought, think">
            <a:extLst>
              <a:ext uri="{FF2B5EF4-FFF2-40B4-BE49-F238E27FC236}">
                <a16:creationId xmlns:a16="http://schemas.microsoft.com/office/drawing/2014/main" id="{97F6947B-B694-C802-1A44-6E6697FC16B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893" r="7365" b="19889"/>
          <a:stretch/>
        </p:blipFill>
        <p:spPr bwMode="auto">
          <a:xfrm>
            <a:off x="6638079" y="2889250"/>
            <a:ext cx="2409556" cy="105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822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F8C8FF4-29F2-ADF1-7F04-C3F8AAB88190}"/>
              </a:ext>
            </a:extLst>
          </p:cNvPr>
          <p:cNvSpPr>
            <a:spLocks noGrp="1"/>
          </p:cNvSpPr>
          <p:nvPr>
            <p:ph type="title"/>
          </p:nvPr>
        </p:nvSpPr>
        <p:spPr/>
        <p:txBody>
          <a:bodyPr/>
          <a:lstStyle/>
          <a:p>
            <a:r>
              <a:rPr lang="en-GB" dirty="0"/>
              <a:t>4. Toekomstige </a:t>
            </a:r>
            <a:r>
              <a:rPr lang="en-GB" dirty="0" err="1"/>
              <a:t>activiteiten</a:t>
            </a:r>
            <a:r>
              <a:rPr lang="en-GB" dirty="0"/>
              <a:t> </a:t>
            </a:r>
            <a:r>
              <a:rPr lang="en-GB" dirty="0" err="1"/>
              <a:t>luchtvaart</a:t>
            </a:r>
            <a:endParaRPr lang="nl-NL" dirty="0"/>
          </a:p>
        </p:txBody>
      </p:sp>
      <p:sp>
        <p:nvSpPr>
          <p:cNvPr id="6" name="Text Placeholder 5">
            <a:extLst>
              <a:ext uri="{FF2B5EF4-FFF2-40B4-BE49-F238E27FC236}">
                <a16:creationId xmlns:a16="http://schemas.microsoft.com/office/drawing/2014/main" id="{CB53A066-F05F-ABB6-0D4D-3B90A7B643C3}"/>
              </a:ext>
            </a:extLst>
          </p:cNvPr>
          <p:cNvSpPr>
            <a:spLocks noGrp="1"/>
          </p:cNvSpPr>
          <p:nvPr>
            <p:ph type="body" idx="1"/>
          </p:nvPr>
        </p:nvSpPr>
        <p:spPr/>
        <p:txBody>
          <a:bodyPr/>
          <a:lstStyle/>
          <a:p>
            <a:endParaRPr lang="nl-NL"/>
          </a:p>
        </p:txBody>
      </p:sp>
      <p:sp>
        <p:nvSpPr>
          <p:cNvPr id="2" name="Footer Placeholder 1">
            <a:extLst>
              <a:ext uri="{FF2B5EF4-FFF2-40B4-BE49-F238E27FC236}">
                <a16:creationId xmlns:a16="http://schemas.microsoft.com/office/drawing/2014/main" id="{CE442EE7-326F-7BB0-CDD2-95E48D34EC7E}"/>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Tree>
    <p:extLst>
      <p:ext uri="{BB962C8B-B14F-4D97-AF65-F5344CB8AC3E}">
        <p14:creationId xmlns:p14="http://schemas.microsoft.com/office/powerpoint/2010/main" val="2710619515"/>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C15062-D944-9BC5-8CBE-EE000E194A6D}"/>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sp>
        <p:nvSpPr>
          <p:cNvPr id="4" name="Content Placeholder 3">
            <a:extLst>
              <a:ext uri="{FF2B5EF4-FFF2-40B4-BE49-F238E27FC236}">
                <a16:creationId xmlns:a16="http://schemas.microsoft.com/office/drawing/2014/main" id="{0BB0531E-44F5-E911-30D1-76846FDD312F}"/>
              </a:ext>
            </a:extLst>
          </p:cNvPr>
          <p:cNvSpPr>
            <a:spLocks noGrp="1"/>
          </p:cNvSpPr>
          <p:nvPr>
            <p:ph idx="1"/>
          </p:nvPr>
        </p:nvSpPr>
        <p:spPr>
          <a:xfrm>
            <a:off x="-293687" y="1353156"/>
            <a:ext cx="7773988" cy="3254465"/>
          </a:xfrm>
        </p:spPr>
        <p:txBody>
          <a:bodyPr/>
          <a:lstStyle/>
          <a:p>
            <a:endParaRPr lang="nl-NL" dirty="0"/>
          </a:p>
          <a:p>
            <a:pPr marL="0" indent="0">
              <a:buNone/>
            </a:pPr>
            <a:endParaRPr lang="nl-NL" dirty="0"/>
          </a:p>
          <a:p>
            <a:endParaRPr lang="nl-NL" dirty="0"/>
          </a:p>
          <a:p>
            <a:endParaRPr lang="nl-NL" dirty="0"/>
          </a:p>
        </p:txBody>
      </p:sp>
      <p:sp>
        <p:nvSpPr>
          <p:cNvPr id="5" name="Title 4">
            <a:extLst>
              <a:ext uri="{FF2B5EF4-FFF2-40B4-BE49-F238E27FC236}">
                <a16:creationId xmlns:a16="http://schemas.microsoft.com/office/drawing/2014/main" id="{5BA950D3-5B72-D2C8-939F-FF9A6DC4AFB5}"/>
              </a:ext>
            </a:extLst>
          </p:cNvPr>
          <p:cNvSpPr>
            <a:spLocks noGrp="1"/>
          </p:cNvSpPr>
          <p:nvPr>
            <p:ph type="title"/>
          </p:nvPr>
        </p:nvSpPr>
        <p:spPr>
          <a:xfrm>
            <a:off x="792163" y="333386"/>
            <a:ext cx="7773988" cy="461665"/>
          </a:xfrm>
        </p:spPr>
        <p:txBody>
          <a:bodyPr/>
          <a:lstStyle/>
          <a:p>
            <a:r>
              <a:rPr lang="nl-NL" dirty="0"/>
              <a:t>Veranderingen en trends</a:t>
            </a:r>
          </a:p>
        </p:txBody>
      </p:sp>
      <p:sp>
        <p:nvSpPr>
          <p:cNvPr id="8" name="Rectangle 7">
            <a:extLst>
              <a:ext uri="{FF2B5EF4-FFF2-40B4-BE49-F238E27FC236}">
                <a16:creationId xmlns:a16="http://schemas.microsoft.com/office/drawing/2014/main" id="{374CFF45-2612-63D6-0B09-A7AA52A95C52}"/>
              </a:ext>
            </a:extLst>
          </p:cNvPr>
          <p:cNvSpPr/>
          <p:nvPr/>
        </p:nvSpPr>
        <p:spPr>
          <a:xfrm>
            <a:off x="5285258" y="2442059"/>
            <a:ext cx="397833" cy="529136"/>
          </a:xfrm>
          <a:prstGeom prst="rect">
            <a:avLst/>
          </a:prstGeom>
          <a:solidFill>
            <a:schemeClr val="bg1"/>
          </a:solid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pic>
        <p:nvPicPr>
          <p:cNvPr id="17" name="Picture 16">
            <a:extLst>
              <a:ext uri="{FF2B5EF4-FFF2-40B4-BE49-F238E27FC236}">
                <a16:creationId xmlns:a16="http://schemas.microsoft.com/office/drawing/2014/main" id="{D9CC9DED-0BA0-6CFE-1E5F-15644BAA773E}"/>
              </a:ext>
            </a:extLst>
          </p:cNvPr>
          <p:cNvPicPr preferRelativeResize="0">
            <a:picLocks/>
          </p:cNvPicPr>
          <p:nvPr/>
        </p:nvPicPr>
        <p:blipFill>
          <a:blip r:embed="rId3"/>
          <a:stretch>
            <a:fillRect/>
          </a:stretch>
        </p:blipFill>
        <p:spPr>
          <a:xfrm>
            <a:off x="3587750" y="804054"/>
            <a:ext cx="5465729" cy="12020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0">
            <a:extLst>
              <a:ext uri="{FF2B5EF4-FFF2-40B4-BE49-F238E27FC236}">
                <a16:creationId xmlns:a16="http://schemas.microsoft.com/office/drawing/2014/main" id="{6B22FAB4-4691-C56D-B583-5F888321F37F}"/>
              </a:ext>
            </a:extLst>
          </p:cNvPr>
          <p:cNvPicPr preferRelativeResize="0">
            <a:picLocks/>
          </p:cNvPicPr>
          <p:nvPr/>
        </p:nvPicPr>
        <p:blipFill>
          <a:blip r:embed="rId4"/>
          <a:stretch>
            <a:fillRect/>
          </a:stretch>
        </p:blipFill>
        <p:spPr>
          <a:xfrm>
            <a:off x="86019" y="2152651"/>
            <a:ext cx="5679781" cy="12020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Picture 18">
            <a:extLst>
              <a:ext uri="{FF2B5EF4-FFF2-40B4-BE49-F238E27FC236}">
                <a16:creationId xmlns:a16="http://schemas.microsoft.com/office/drawing/2014/main" id="{8BADBC69-F551-20D9-132F-D00464F8D6AF}"/>
              </a:ext>
            </a:extLst>
          </p:cNvPr>
          <p:cNvPicPr preferRelativeResize="0">
            <a:picLocks/>
          </p:cNvPicPr>
          <p:nvPr/>
        </p:nvPicPr>
        <p:blipFill>
          <a:blip r:embed="rId5"/>
          <a:stretch>
            <a:fillRect/>
          </a:stretch>
        </p:blipFill>
        <p:spPr>
          <a:xfrm>
            <a:off x="3454400" y="3473450"/>
            <a:ext cx="5599079" cy="12528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568127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39BE85F-C48D-F077-1EC2-B9717B4D290C}"/>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sp>
        <p:nvSpPr>
          <p:cNvPr id="4" name="Content Placeholder 3">
            <a:extLst>
              <a:ext uri="{FF2B5EF4-FFF2-40B4-BE49-F238E27FC236}">
                <a16:creationId xmlns:a16="http://schemas.microsoft.com/office/drawing/2014/main" id="{F432FE07-8E60-76C2-A03E-E1BAA89AF74A}"/>
              </a:ext>
            </a:extLst>
          </p:cNvPr>
          <p:cNvSpPr>
            <a:spLocks noGrp="1"/>
          </p:cNvSpPr>
          <p:nvPr>
            <p:ph idx="1"/>
          </p:nvPr>
        </p:nvSpPr>
        <p:spPr>
          <a:xfrm>
            <a:off x="5335571" y="3717666"/>
            <a:ext cx="3230580" cy="1565952"/>
          </a:xfrm>
        </p:spPr>
        <p:txBody>
          <a:bodyPr>
            <a:normAutofit/>
          </a:bodyPr>
          <a:lstStyle/>
          <a:p>
            <a:endParaRPr lang="nl-NL" dirty="0"/>
          </a:p>
          <a:p>
            <a:endParaRPr lang="nl-NL" dirty="0"/>
          </a:p>
          <a:p>
            <a:pPr marL="285750" indent="-285750">
              <a:buFont typeface="Arial" panose="020B0604020202020204" pitchFamily="34" charset="0"/>
              <a:buChar char="•"/>
            </a:pPr>
            <a:endParaRPr lang="nl-NL" dirty="0">
              <a:solidFill>
                <a:schemeClr val="tx2"/>
              </a:solidFill>
            </a:endParaRPr>
          </a:p>
          <a:p>
            <a:pPr marL="285750" indent="-285750">
              <a:buFont typeface="Arial" panose="020B0604020202020204" pitchFamily="34" charset="0"/>
              <a:buChar char="•"/>
            </a:pPr>
            <a:endParaRPr lang="nl-NL" dirty="0"/>
          </a:p>
          <a:p>
            <a:endParaRPr lang="nl-NL" dirty="0"/>
          </a:p>
          <a:p>
            <a:endParaRPr lang="nl-NL" dirty="0"/>
          </a:p>
          <a:p>
            <a:endParaRPr lang="nl-NL" dirty="0"/>
          </a:p>
          <a:p>
            <a:pPr marL="0" indent="0">
              <a:buNone/>
            </a:pPr>
            <a:endParaRPr lang="nl-NL" dirty="0"/>
          </a:p>
        </p:txBody>
      </p:sp>
      <p:sp>
        <p:nvSpPr>
          <p:cNvPr id="5" name="Title 4">
            <a:extLst>
              <a:ext uri="{FF2B5EF4-FFF2-40B4-BE49-F238E27FC236}">
                <a16:creationId xmlns:a16="http://schemas.microsoft.com/office/drawing/2014/main" id="{B0CBB687-03F2-1404-E018-A9D677AA5298}"/>
              </a:ext>
            </a:extLst>
          </p:cNvPr>
          <p:cNvSpPr>
            <a:spLocks noGrp="1"/>
          </p:cNvSpPr>
          <p:nvPr>
            <p:ph type="title"/>
          </p:nvPr>
        </p:nvSpPr>
        <p:spPr/>
        <p:txBody>
          <a:bodyPr/>
          <a:lstStyle/>
          <a:p>
            <a:r>
              <a:rPr lang="nl-NL" dirty="0"/>
              <a:t>Uitdagingen</a:t>
            </a:r>
          </a:p>
        </p:txBody>
      </p:sp>
      <p:pic>
        <p:nvPicPr>
          <p:cNvPr id="11" name="Picture 10">
            <a:extLst>
              <a:ext uri="{FF2B5EF4-FFF2-40B4-BE49-F238E27FC236}">
                <a16:creationId xmlns:a16="http://schemas.microsoft.com/office/drawing/2014/main" id="{0F2C4373-3DF9-06B9-A359-8365EAC765B2}"/>
              </a:ext>
            </a:extLst>
          </p:cNvPr>
          <p:cNvPicPr>
            <a:picLocks noChangeAspect="1"/>
          </p:cNvPicPr>
          <p:nvPr/>
        </p:nvPicPr>
        <p:blipFill>
          <a:blip r:embed="rId3"/>
          <a:stretch>
            <a:fillRect/>
          </a:stretch>
        </p:blipFill>
        <p:spPr>
          <a:xfrm>
            <a:off x="1650205" y="1359673"/>
            <a:ext cx="1370239" cy="1307357"/>
          </a:xfrm>
          <a:prstGeom prst="rect">
            <a:avLst/>
          </a:prstGeom>
        </p:spPr>
      </p:pic>
      <p:grpSp>
        <p:nvGrpSpPr>
          <p:cNvPr id="16" name="Group 15">
            <a:extLst>
              <a:ext uri="{FF2B5EF4-FFF2-40B4-BE49-F238E27FC236}">
                <a16:creationId xmlns:a16="http://schemas.microsoft.com/office/drawing/2014/main" id="{5A41A481-592B-7CFC-0E77-2725DC0F22E9}"/>
              </a:ext>
            </a:extLst>
          </p:cNvPr>
          <p:cNvGrpSpPr/>
          <p:nvPr/>
        </p:nvGrpSpPr>
        <p:grpSpPr>
          <a:xfrm>
            <a:off x="4588991" y="127876"/>
            <a:ext cx="4494251" cy="1512000"/>
            <a:chOff x="6302545" y="56562"/>
            <a:chExt cx="5624656" cy="1768373"/>
          </a:xfrm>
        </p:grpSpPr>
        <p:pic>
          <p:nvPicPr>
            <p:cNvPr id="9" name="Picture 8">
              <a:extLst>
                <a:ext uri="{FF2B5EF4-FFF2-40B4-BE49-F238E27FC236}">
                  <a16:creationId xmlns:a16="http://schemas.microsoft.com/office/drawing/2014/main" id="{E4FE2DF4-4CEF-F5A3-6E38-7523E7ABC51F}"/>
                </a:ext>
              </a:extLst>
            </p:cNvPr>
            <p:cNvPicPr>
              <a:picLocks noChangeAspect="1"/>
            </p:cNvPicPr>
            <p:nvPr/>
          </p:nvPicPr>
          <p:blipFill>
            <a:blip r:embed="rId4"/>
            <a:stretch>
              <a:fillRect/>
            </a:stretch>
          </p:blipFill>
          <p:spPr>
            <a:xfrm>
              <a:off x="6302545" y="56562"/>
              <a:ext cx="2751854" cy="1768373"/>
            </a:xfrm>
            <a:prstGeom prst="rect">
              <a:avLst/>
            </a:prstGeom>
          </p:spPr>
        </p:pic>
        <p:pic>
          <p:nvPicPr>
            <p:cNvPr id="1030" name="Picture 6" descr="Impact of Artificial Intelligence on Intelligent Automation | Veracitiz">
              <a:extLst>
                <a:ext uri="{FF2B5EF4-FFF2-40B4-BE49-F238E27FC236}">
                  <a16:creationId xmlns:a16="http://schemas.microsoft.com/office/drawing/2014/main" id="{9814B2CC-83A0-45EB-815A-BABDECF207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32734" y="56562"/>
              <a:ext cx="2794467" cy="1768373"/>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3">
            <a:extLst>
              <a:ext uri="{FF2B5EF4-FFF2-40B4-BE49-F238E27FC236}">
                <a16:creationId xmlns:a16="http://schemas.microsoft.com/office/drawing/2014/main" id="{A7C3AD4B-EED0-AFF2-69EF-8B4553B06B16}"/>
              </a:ext>
            </a:extLst>
          </p:cNvPr>
          <p:cNvPicPr>
            <a:picLocks noChangeAspect="1"/>
          </p:cNvPicPr>
          <p:nvPr/>
        </p:nvPicPr>
        <p:blipFill>
          <a:blip r:embed="rId6"/>
          <a:stretch>
            <a:fillRect/>
          </a:stretch>
        </p:blipFill>
        <p:spPr>
          <a:xfrm>
            <a:off x="3831442" y="2642938"/>
            <a:ext cx="5251800" cy="2202086"/>
          </a:xfrm>
          <a:prstGeom prst="rect">
            <a:avLst/>
          </a:prstGeom>
        </p:spPr>
      </p:pic>
      <p:sp>
        <p:nvSpPr>
          <p:cNvPr id="17" name="Arrow: Left-Right-Up 16">
            <a:extLst>
              <a:ext uri="{FF2B5EF4-FFF2-40B4-BE49-F238E27FC236}">
                <a16:creationId xmlns:a16="http://schemas.microsoft.com/office/drawing/2014/main" id="{F70C4A11-E976-0527-9D55-8A066AFEE82E}"/>
              </a:ext>
            </a:extLst>
          </p:cNvPr>
          <p:cNvSpPr/>
          <p:nvPr/>
        </p:nvSpPr>
        <p:spPr>
          <a:xfrm rot="9033265">
            <a:off x="3335865" y="1333852"/>
            <a:ext cx="1377869" cy="1170290"/>
          </a:xfrm>
          <a:prstGeom prst="leftRightUpArrow">
            <a:avLst>
              <a:gd name="adj1" fmla="val 7124"/>
              <a:gd name="adj2" fmla="val 19037"/>
              <a:gd name="adj3" fmla="val 20366"/>
            </a:avLst>
          </a:prstGeom>
          <a:ln/>
        </p:spPr>
        <p:style>
          <a:lnRef idx="2">
            <a:schemeClr val="accent2">
              <a:shade val="15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pic>
        <p:nvPicPr>
          <p:cNvPr id="3" name="Picture 4">
            <a:extLst>
              <a:ext uri="{FF2B5EF4-FFF2-40B4-BE49-F238E27FC236}">
                <a16:creationId xmlns:a16="http://schemas.microsoft.com/office/drawing/2014/main" id="{132B78B0-6068-AAEF-588E-12D7847A528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758" y="1359673"/>
            <a:ext cx="1564920" cy="1307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15785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8FAD5C8-A256-5398-9FDB-68B6B9163D3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Lst>
          </a:blip>
          <a:stretch>
            <a:fillRect/>
          </a:stretch>
        </p:blipFill>
        <p:spPr>
          <a:xfrm>
            <a:off x="7365752" y="2026540"/>
            <a:ext cx="1778247" cy="2245318"/>
          </a:xfrm>
          <a:prstGeom prst="rect">
            <a:avLst/>
          </a:prstGeom>
        </p:spPr>
      </p:pic>
      <p:sp>
        <p:nvSpPr>
          <p:cNvPr id="5" name="Content Placeholder 4">
            <a:extLst>
              <a:ext uri="{FF2B5EF4-FFF2-40B4-BE49-F238E27FC236}">
                <a16:creationId xmlns:a16="http://schemas.microsoft.com/office/drawing/2014/main" id="{2A0D41A2-6C95-21B7-93E9-F15BD76480D2}"/>
              </a:ext>
            </a:extLst>
          </p:cNvPr>
          <p:cNvSpPr>
            <a:spLocks noGrp="1"/>
          </p:cNvSpPr>
          <p:nvPr>
            <p:ph sz="half" idx="1"/>
          </p:nvPr>
        </p:nvSpPr>
        <p:spPr/>
        <p:txBody>
          <a:bodyPr/>
          <a:lstStyle/>
          <a:p>
            <a:pPr marL="0" indent="0">
              <a:buNone/>
            </a:pPr>
            <a:r>
              <a:rPr lang="en-GB" dirty="0"/>
              <a:t>Reduced crew / single pilots	</a:t>
            </a:r>
            <a:endParaRPr lang="nl-NL" dirty="0"/>
          </a:p>
        </p:txBody>
      </p:sp>
      <p:sp>
        <p:nvSpPr>
          <p:cNvPr id="6" name="Content Placeholder 5">
            <a:extLst>
              <a:ext uri="{FF2B5EF4-FFF2-40B4-BE49-F238E27FC236}">
                <a16:creationId xmlns:a16="http://schemas.microsoft.com/office/drawing/2014/main" id="{8F7CE095-BFCE-603B-9DFB-55B1AA753B55}"/>
              </a:ext>
            </a:extLst>
          </p:cNvPr>
          <p:cNvSpPr>
            <a:spLocks noGrp="1"/>
          </p:cNvSpPr>
          <p:nvPr>
            <p:ph sz="half" idx="2"/>
          </p:nvPr>
        </p:nvSpPr>
        <p:spPr/>
        <p:txBody>
          <a:bodyPr/>
          <a:lstStyle/>
          <a:p>
            <a:pPr marL="0" indent="0">
              <a:buNone/>
            </a:pPr>
            <a:r>
              <a:rPr lang="en-GB" dirty="0"/>
              <a:t>High altitude operations</a:t>
            </a:r>
            <a:endParaRPr lang="nl-NL" dirty="0"/>
          </a:p>
        </p:txBody>
      </p:sp>
      <p:sp>
        <p:nvSpPr>
          <p:cNvPr id="2" name="Footer Placeholder 1">
            <a:extLst>
              <a:ext uri="{FF2B5EF4-FFF2-40B4-BE49-F238E27FC236}">
                <a16:creationId xmlns:a16="http://schemas.microsoft.com/office/drawing/2014/main" id="{C6D972A5-F9E8-69FD-1FA4-B93256CD176E}"/>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4" name="Title 3">
            <a:extLst>
              <a:ext uri="{FF2B5EF4-FFF2-40B4-BE49-F238E27FC236}">
                <a16:creationId xmlns:a16="http://schemas.microsoft.com/office/drawing/2014/main" id="{2055A8AA-50D8-4CFE-7918-6740DF040213}"/>
              </a:ext>
            </a:extLst>
          </p:cNvPr>
          <p:cNvSpPr>
            <a:spLocks noGrp="1"/>
          </p:cNvSpPr>
          <p:nvPr>
            <p:ph type="title"/>
          </p:nvPr>
        </p:nvSpPr>
        <p:spPr/>
        <p:txBody>
          <a:bodyPr/>
          <a:lstStyle/>
          <a:p>
            <a:r>
              <a:rPr lang="en-GB" dirty="0"/>
              <a:t>Push &amp; Pull</a:t>
            </a:r>
            <a:endParaRPr lang="nl-NL" dirty="0"/>
          </a:p>
        </p:txBody>
      </p:sp>
      <p:grpSp>
        <p:nvGrpSpPr>
          <p:cNvPr id="10" name="Group 9">
            <a:extLst>
              <a:ext uri="{FF2B5EF4-FFF2-40B4-BE49-F238E27FC236}">
                <a16:creationId xmlns:a16="http://schemas.microsoft.com/office/drawing/2014/main" id="{3CC2D15E-A1CD-D8DF-F05B-C8A669141328}"/>
              </a:ext>
            </a:extLst>
          </p:cNvPr>
          <p:cNvGrpSpPr/>
          <p:nvPr/>
        </p:nvGrpSpPr>
        <p:grpSpPr>
          <a:xfrm>
            <a:off x="792162" y="1588887"/>
            <a:ext cx="3221526" cy="1564475"/>
            <a:chOff x="754315" y="1937982"/>
            <a:chExt cx="3235381" cy="1447654"/>
          </a:xfrm>
        </p:grpSpPr>
        <p:pic>
          <p:nvPicPr>
            <p:cNvPr id="8" name="Picture 7">
              <a:extLst>
                <a:ext uri="{FF2B5EF4-FFF2-40B4-BE49-F238E27FC236}">
                  <a16:creationId xmlns:a16="http://schemas.microsoft.com/office/drawing/2014/main" id="{01B3326B-3D5C-F04E-3773-BB9C70AFEC46}"/>
                </a:ext>
              </a:extLst>
            </p:cNvPr>
            <p:cNvPicPr>
              <a:picLocks noChangeAspect="1"/>
            </p:cNvPicPr>
            <p:nvPr/>
          </p:nvPicPr>
          <p:blipFill>
            <a:blip r:embed="rId5"/>
            <a:srcRect t="683" r="-468"/>
            <a:stretch/>
          </p:blipFill>
          <p:spPr>
            <a:xfrm>
              <a:off x="754315" y="1937982"/>
              <a:ext cx="3235381" cy="1447654"/>
            </a:xfrm>
            <a:prstGeom prst="rect">
              <a:avLst/>
            </a:prstGeom>
          </p:spPr>
        </p:pic>
        <p:sp>
          <p:nvSpPr>
            <p:cNvPr id="9" name="Rectangle 8">
              <a:extLst>
                <a:ext uri="{FF2B5EF4-FFF2-40B4-BE49-F238E27FC236}">
                  <a16:creationId xmlns:a16="http://schemas.microsoft.com/office/drawing/2014/main" id="{1608103A-FF46-BAF0-3A26-682AF297783A}"/>
                </a:ext>
              </a:extLst>
            </p:cNvPr>
            <p:cNvSpPr/>
            <p:nvPr/>
          </p:nvSpPr>
          <p:spPr>
            <a:xfrm>
              <a:off x="3143535" y="1937982"/>
              <a:ext cx="846161" cy="339454"/>
            </a:xfrm>
            <a:prstGeom prst="rect">
              <a:avLst/>
            </a:prstGeom>
            <a:solidFill>
              <a:srgbClr val="FFFFFF"/>
            </a:solidFill>
            <a:ln>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pic>
        <p:nvPicPr>
          <p:cNvPr id="12" name="Picture 11">
            <a:extLst>
              <a:ext uri="{FF2B5EF4-FFF2-40B4-BE49-F238E27FC236}">
                <a16:creationId xmlns:a16="http://schemas.microsoft.com/office/drawing/2014/main" id="{37827190-3B5A-585B-2B9B-1D263CB96681}"/>
              </a:ext>
            </a:extLst>
          </p:cNvPr>
          <p:cNvPicPr>
            <a:picLocks noChangeAspect="1"/>
          </p:cNvPicPr>
          <p:nvPr/>
        </p:nvPicPr>
        <p:blipFill>
          <a:blip r:embed="rId6"/>
          <a:srcRect t="14757"/>
          <a:stretch/>
        </p:blipFill>
        <p:spPr>
          <a:xfrm>
            <a:off x="699040" y="3294131"/>
            <a:ext cx="3314648" cy="1674473"/>
          </a:xfrm>
          <a:prstGeom prst="rect">
            <a:avLst/>
          </a:prstGeom>
        </p:spPr>
      </p:pic>
      <p:pic>
        <p:nvPicPr>
          <p:cNvPr id="2050" name="Picture 2" descr="Blue Origin Will Send an 18-Year-Old Student with Jeff Bezos on New  Shepard's First Manned Spaceflight - TechEBlog">
            <a:extLst>
              <a:ext uri="{FF2B5EF4-FFF2-40B4-BE49-F238E27FC236}">
                <a16:creationId xmlns:a16="http://schemas.microsoft.com/office/drawing/2014/main" id="{CAA6D73B-EB79-F11E-8F1E-6944816D447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84715" y="3096232"/>
            <a:ext cx="2352472" cy="176127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The Overture is still under development, but is tipped to be the 'world's fatest airliner', reaching speeds of Mach 1.7 (about 1,300mph). Overture is slated to roll out in 2025, fly in 2026 and expected to carry passengers by 2029">
            <a:extLst>
              <a:ext uri="{FF2B5EF4-FFF2-40B4-BE49-F238E27FC236}">
                <a16:creationId xmlns:a16="http://schemas.microsoft.com/office/drawing/2014/main" id="{9464EF76-8AD3-097D-4E09-E50B88A57EF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84715" y="1581912"/>
            <a:ext cx="2352473" cy="1413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8057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35F09-CD3D-17F2-D9C9-E9E42D51E1FE}"/>
              </a:ext>
            </a:extLst>
          </p:cNvPr>
          <p:cNvSpPr>
            <a:spLocks noGrp="1"/>
          </p:cNvSpPr>
          <p:nvPr>
            <p:ph type="title"/>
          </p:nvPr>
        </p:nvSpPr>
        <p:spPr>
          <a:xfrm>
            <a:off x="681038" y="2132295"/>
            <a:ext cx="7777162" cy="954107"/>
          </a:xfrm>
        </p:spPr>
        <p:txBody>
          <a:bodyPr/>
          <a:lstStyle/>
          <a:p>
            <a:r>
              <a:rPr lang="en-GB" dirty="0"/>
              <a:t>1. Impact </a:t>
            </a:r>
            <a:r>
              <a:rPr lang="en-GB" dirty="0" err="1"/>
              <a:t>onregelmatige</a:t>
            </a:r>
            <a:r>
              <a:rPr lang="en-GB" dirty="0"/>
              <a:t> </a:t>
            </a:r>
            <a:r>
              <a:rPr lang="en-GB" dirty="0" err="1"/>
              <a:t>werktijden</a:t>
            </a:r>
            <a:br>
              <a:rPr lang="en-GB" dirty="0"/>
            </a:br>
            <a:endParaRPr lang="nl-NL" dirty="0"/>
          </a:p>
        </p:txBody>
      </p:sp>
      <p:sp>
        <p:nvSpPr>
          <p:cNvPr id="4" name="Footer Placeholder 3">
            <a:extLst>
              <a:ext uri="{FF2B5EF4-FFF2-40B4-BE49-F238E27FC236}">
                <a16:creationId xmlns:a16="http://schemas.microsoft.com/office/drawing/2014/main" id="{C05134C3-2C81-1E73-8CCE-9BABC16FFD2E}"/>
              </a:ext>
            </a:extLst>
          </p:cNvPr>
          <p:cNvSpPr>
            <a:spLocks noGrp="1"/>
          </p:cNvSpPr>
          <p:nvPr>
            <p:ph type="ftr" sz="quarter" idx="11"/>
          </p:nvPr>
        </p:nvSpPr>
        <p:spPr/>
        <p:txBody>
          <a:bodyPr/>
          <a:lstStyle/>
          <a:p>
            <a:r>
              <a:rPr lang="nl-NL" noProof="0"/>
              <a:t>Onregelmatig Werk en Gezondheid: "Lessen" uit de Luchtvaartsector</a:t>
            </a:r>
            <a:endParaRPr lang="en-GB" noProof="0" dirty="0"/>
          </a:p>
        </p:txBody>
      </p:sp>
    </p:spTree>
    <p:extLst>
      <p:ext uri="{BB962C8B-B14F-4D97-AF65-F5344CB8AC3E}">
        <p14:creationId xmlns:p14="http://schemas.microsoft.com/office/powerpoint/2010/main" val="1403183582"/>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BBC19-D919-4FBE-A371-68971A9EE94E}"/>
              </a:ext>
            </a:extLst>
          </p:cNvPr>
          <p:cNvSpPr>
            <a:spLocks noGrp="1"/>
          </p:cNvSpPr>
          <p:nvPr>
            <p:ph type="title"/>
          </p:nvPr>
        </p:nvSpPr>
        <p:spPr>
          <a:xfrm>
            <a:off x="792163" y="3452519"/>
            <a:ext cx="7500844" cy="461665"/>
          </a:xfrm>
        </p:spPr>
        <p:txBody>
          <a:bodyPr/>
          <a:lstStyle/>
          <a:p>
            <a:r>
              <a:rPr lang="nl-NL" i="1" dirty="0"/>
              <a:t>Bedankt voor uw aandacht!</a:t>
            </a:r>
            <a:endParaRPr lang="nl-NL" dirty="0"/>
          </a:p>
        </p:txBody>
      </p:sp>
    </p:spTree>
    <p:extLst>
      <p:ext uri="{BB962C8B-B14F-4D97-AF65-F5344CB8AC3E}">
        <p14:creationId xmlns:p14="http://schemas.microsoft.com/office/powerpoint/2010/main" val="3569745207"/>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51EC6E5-5FAA-4C8D-A078-0D63AB5EC3A7}"/>
              </a:ext>
            </a:extLst>
          </p:cNvPr>
          <p:cNvSpPr>
            <a:spLocks noGrp="1"/>
          </p:cNvSpPr>
          <p:nvPr>
            <p:ph type="body" idx="23"/>
          </p:nvPr>
        </p:nvSpPr>
        <p:spPr/>
        <p:txBody>
          <a:bodyPr/>
          <a:lstStyle/>
          <a:p>
            <a:r>
              <a:rPr lang="en-GB" dirty="0"/>
              <a:t>Alwin van Drongelen </a:t>
            </a:r>
          </a:p>
          <a:p>
            <a:r>
              <a:rPr lang="en-GB" dirty="0"/>
              <a:t>Senior Scientist Safety and Human Performance</a:t>
            </a:r>
            <a:endParaRPr lang="nl-NL" dirty="0"/>
          </a:p>
        </p:txBody>
      </p:sp>
      <p:sp>
        <p:nvSpPr>
          <p:cNvPr id="5" name="Text Placeholder 4">
            <a:extLst>
              <a:ext uri="{FF2B5EF4-FFF2-40B4-BE49-F238E27FC236}">
                <a16:creationId xmlns:a16="http://schemas.microsoft.com/office/drawing/2014/main" id="{74A85735-1189-4949-BF4D-1CC0E8AA6D4A}"/>
              </a:ext>
            </a:extLst>
          </p:cNvPr>
          <p:cNvSpPr>
            <a:spLocks noGrp="1"/>
          </p:cNvSpPr>
          <p:nvPr>
            <p:ph type="body" idx="24"/>
          </p:nvPr>
        </p:nvSpPr>
        <p:spPr/>
        <p:txBody>
          <a:bodyPr/>
          <a:lstStyle/>
          <a:p>
            <a:r>
              <a:rPr lang="en-GB" dirty="0"/>
              <a:t>06-21 31 69 72</a:t>
            </a:r>
          </a:p>
          <a:p>
            <a:r>
              <a:rPr lang="en-GB" dirty="0"/>
              <a:t>Alwin.van.Drongelen@nlr.nl</a:t>
            </a:r>
            <a:endParaRPr lang="nl-NL" dirty="0"/>
          </a:p>
        </p:txBody>
      </p:sp>
      <p:grpSp>
        <p:nvGrpSpPr>
          <p:cNvPr id="6" name="Group 5">
            <a:extLst>
              <a:ext uri="{FF2B5EF4-FFF2-40B4-BE49-F238E27FC236}">
                <a16:creationId xmlns:a16="http://schemas.microsoft.com/office/drawing/2014/main" id="{AD3FE222-86AE-477E-B364-1808245B32F7}"/>
              </a:ext>
            </a:extLst>
          </p:cNvPr>
          <p:cNvGrpSpPr/>
          <p:nvPr/>
        </p:nvGrpSpPr>
        <p:grpSpPr>
          <a:xfrm>
            <a:off x="5316594" y="3631496"/>
            <a:ext cx="343845" cy="710217"/>
            <a:chOff x="5316594" y="3631496"/>
            <a:chExt cx="343845" cy="710217"/>
          </a:xfrm>
        </p:grpSpPr>
        <p:grpSp>
          <p:nvGrpSpPr>
            <p:cNvPr id="7" name="Group 6">
              <a:extLst>
                <a:ext uri="{FF2B5EF4-FFF2-40B4-BE49-F238E27FC236}">
                  <a16:creationId xmlns:a16="http://schemas.microsoft.com/office/drawing/2014/main" id="{258C5E6A-B68E-4F7F-BD81-AF62A68ED65F}"/>
                </a:ext>
              </a:extLst>
            </p:cNvPr>
            <p:cNvGrpSpPr/>
            <p:nvPr userDrawn="1"/>
          </p:nvGrpSpPr>
          <p:grpSpPr>
            <a:xfrm>
              <a:off x="5540424" y="4096594"/>
              <a:ext cx="120015" cy="245119"/>
              <a:chOff x="5861816" y="4242616"/>
              <a:chExt cx="120015" cy="245119"/>
            </a:xfrm>
          </p:grpSpPr>
          <p:pic>
            <p:nvPicPr>
              <p:cNvPr id="9" name="Graphic 8">
                <a:extLst>
                  <a:ext uri="{FF2B5EF4-FFF2-40B4-BE49-F238E27FC236}">
                    <a16:creationId xmlns:a16="http://schemas.microsoft.com/office/drawing/2014/main" id="{DEA074D1-D9ED-450E-8279-1676533DD6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61816" y="4407725"/>
                <a:ext cx="120015" cy="80010"/>
              </a:xfrm>
              <a:prstGeom prst="rect">
                <a:avLst/>
              </a:prstGeom>
            </p:spPr>
          </p:pic>
          <p:pic>
            <p:nvPicPr>
              <p:cNvPr id="10" name="Graphic 9">
                <a:extLst>
                  <a:ext uri="{FF2B5EF4-FFF2-40B4-BE49-F238E27FC236}">
                    <a16:creationId xmlns:a16="http://schemas.microsoft.com/office/drawing/2014/main" id="{B3A70AF4-3AB8-42AA-9E37-232589CC41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68483" y="4242616"/>
                <a:ext cx="106680" cy="106680"/>
              </a:xfrm>
              <a:prstGeom prst="rect">
                <a:avLst/>
              </a:prstGeom>
            </p:spPr>
          </p:pic>
        </p:grpSp>
        <p:cxnSp>
          <p:nvCxnSpPr>
            <p:cNvPr id="8" name="Straight Connector 7">
              <a:extLst>
                <a:ext uri="{FF2B5EF4-FFF2-40B4-BE49-F238E27FC236}">
                  <a16:creationId xmlns:a16="http://schemas.microsoft.com/office/drawing/2014/main" id="{4E32784A-35C6-4987-ACC4-CB6B14F844C1}"/>
                </a:ext>
              </a:extLst>
            </p:cNvPr>
            <p:cNvCxnSpPr>
              <a:cxnSpLocks/>
            </p:cNvCxnSpPr>
            <p:nvPr userDrawn="1"/>
          </p:nvCxnSpPr>
          <p:spPr bwMode="gray">
            <a:xfrm>
              <a:off x="5316594" y="3631496"/>
              <a:ext cx="0" cy="68844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578772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1" name="Picture 9"/>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1480337" y="724003"/>
            <a:ext cx="6491984" cy="2739617"/>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D:\Users\Gebruiker\Documents\PRESENTATIE ALWIN\beroepen\Foto-1-Operatieassistent-Linda-tijdens-een-operatie.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062792" y="2165187"/>
            <a:ext cx="2021606" cy="178139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8203" name="Picture 11" descr="D:\Users\Gebruiker\Documents\PRESENTATIE ALWIN\beroepen\TB-Personeel-23.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255475" y="1076723"/>
            <a:ext cx="2106066" cy="2059604"/>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8204" name="Picture 1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60000"/>
                    </a14:imgEffect>
                  </a14:imgLayer>
                </a14:imgProps>
              </a:ext>
              <a:ext uri="{28A0092B-C50C-407E-A947-70E740481C1C}">
                <a14:useLocalDpi xmlns:a14="http://schemas.microsoft.com/office/drawing/2010/main"/>
              </a:ext>
            </a:extLst>
          </a:blip>
          <a:stretch>
            <a:fillRect/>
          </a:stretch>
        </p:blipFill>
        <p:spPr bwMode="auto">
          <a:xfrm>
            <a:off x="6011408" y="1336510"/>
            <a:ext cx="1889150" cy="1473601"/>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41988" name="Picture 4"/>
          <p:cNvPicPr>
            <a:picLocks noChangeAspect="1" noChangeArrowheads="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4577850" y="1837222"/>
            <a:ext cx="3029053" cy="3049613"/>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F8FBA1E-F917-A46E-6B99-BA2AF6EF7459}"/>
              </a:ext>
            </a:extLst>
          </p:cNvPr>
          <p:cNvSpPr>
            <a:spLocks noGrp="1"/>
          </p:cNvSpPr>
          <p:nvPr>
            <p:ph idx="1"/>
          </p:nvPr>
        </p:nvSpPr>
        <p:spPr/>
        <p:txBody>
          <a:bodyPr/>
          <a:lstStyle/>
          <a:p>
            <a:endParaRPr lang="nl-NL" dirty="0"/>
          </a:p>
        </p:txBody>
      </p:sp>
      <p:sp>
        <p:nvSpPr>
          <p:cNvPr id="2" name="Title 1">
            <a:extLst>
              <a:ext uri="{FF2B5EF4-FFF2-40B4-BE49-F238E27FC236}">
                <a16:creationId xmlns:a16="http://schemas.microsoft.com/office/drawing/2014/main" id="{F7BFB72F-37A1-0149-9DB7-4CE8CFF4087F}"/>
              </a:ext>
            </a:extLst>
          </p:cNvPr>
          <p:cNvSpPr>
            <a:spLocks noGrp="1"/>
          </p:cNvSpPr>
          <p:nvPr>
            <p:ph type="title"/>
          </p:nvPr>
        </p:nvSpPr>
        <p:spPr/>
        <p:txBody>
          <a:bodyPr/>
          <a:lstStyle/>
          <a:p>
            <a:endParaRPr lang="nl-NL"/>
          </a:p>
        </p:txBody>
      </p:sp>
      <p:sp>
        <p:nvSpPr>
          <p:cNvPr id="4" name="Footer Placeholder 3">
            <a:extLst>
              <a:ext uri="{FF2B5EF4-FFF2-40B4-BE49-F238E27FC236}">
                <a16:creationId xmlns:a16="http://schemas.microsoft.com/office/drawing/2014/main" id="{707646D6-9BA9-EDFE-B3F3-25C6286652B3}"/>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Tree>
  </p:cSld>
  <p:clrMapOvr>
    <a:masterClrMapping/>
  </p:clrMapOvr>
  <p:transition spd="med">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203"/>
                                        </p:tgtEl>
                                        <p:attrNameLst>
                                          <p:attrName>style.visibility</p:attrName>
                                        </p:attrNameLst>
                                      </p:cBhvr>
                                      <p:to>
                                        <p:strVal val="visible"/>
                                      </p:to>
                                    </p:set>
                                    <p:anim calcmode="lin" valueType="num">
                                      <p:cBhvr>
                                        <p:cTn id="7" dur="500" fill="hold"/>
                                        <p:tgtEl>
                                          <p:spTgt spid="8203"/>
                                        </p:tgtEl>
                                        <p:attrNameLst>
                                          <p:attrName>ppt_w</p:attrName>
                                        </p:attrNameLst>
                                      </p:cBhvr>
                                      <p:tavLst>
                                        <p:tav tm="0">
                                          <p:val>
                                            <p:fltVal val="0"/>
                                          </p:val>
                                        </p:tav>
                                        <p:tav tm="100000">
                                          <p:val>
                                            <p:strVal val="#ppt_w"/>
                                          </p:val>
                                        </p:tav>
                                      </p:tavLst>
                                    </p:anim>
                                    <p:anim calcmode="lin" valueType="num">
                                      <p:cBhvr>
                                        <p:cTn id="8" dur="500" fill="hold"/>
                                        <p:tgtEl>
                                          <p:spTgt spid="8203"/>
                                        </p:tgtEl>
                                        <p:attrNameLst>
                                          <p:attrName>ppt_h</p:attrName>
                                        </p:attrNameLst>
                                      </p:cBhvr>
                                      <p:tavLst>
                                        <p:tav tm="0">
                                          <p:val>
                                            <p:fltVal val="0"/>
                                          </p:val>
                                        </p:tav>
                                        <p:tav tm="100000">
                                          <p:val>
                                            <p:strVal val="#ppt_h"/>
                                          </p:val>
                                        </p:tav>
                                      </p:tavLst>
                                    </p:anim>
                                    <p:animEffect transition="in" filter="fade">
                                      <p:cBhvr>
                                        <p:cTn id="9" dur="500"/>
                                        <p:tgtEl>
                                          <p:spTgt spid="8203"/>
                                        </p:tgtEl>
                                      </p:cBhvr>
                                    </p:animEffect>
                                  </p:childTnLst>
                                </p:cTn>
                              </p:par>
                            </p:childTnLst>
                          </p:cTn>
                        </p:par>
                        <p:par>
                          <p:cTn id="10" fill="hold">
                            <p:stCondLst>
                              <p:cond delay="500"/>
                            </p:stCondLst>
                            <p:childTnLst>
                              <p:par>
                                <p:cTn id="11" presetID="53" presetClass="exit" presetSubtype="32" fill="hold" nodeType="afterEffect">
                                  <p:stCondLst>
                                    <p:cond delay="2000"/>
                                  </p:stCondLst>
                                  <p:childTnLst>
                                    <p:anim calcmode="lin" valueType="num">
                                      <p:cBhvr>
                                        <p:cTn id="12" dur="500"/>
                                        <p:tgtEl>
                                          <p:spTgt spid="8203"/>
                                        </p:tgtEl>
                                        <p:attrNameLst>
                                          <p:attrName>ppt_w</p:attrName>
                                        </p:attrNameLst>
                                      </p:cBhvr>
                                      <p:tavLst>
                                        <p:tav tm="0">
                                          <p:val>
                                            <p:strVal val="ppt_w"/>
                                          </p:val>
                                        </p:tav>
                                        <p:tav tm="100000">
                                          <p:val>
                                            <p:fltVal val="0"/>
                                          </p:val>
                                        </p:tav>
                                      </p:tavLst>
                                    </p:anim>
                                    <p:anim calcmode="lin" valueType="num">
                                      <p:cBhvr>
                                        <p:cTn id="13" dur="500"/>
                                        <p:tgtEl>
                                          <p:spTgt spid="8203"/>
                                        </p:tgtEl>
                                        <p:attrNameLst>
                                          <p:attrName>ppt_h</p:attrName>
                                        </p:attrNameLst>
                                      </p:cBhvr>
                                      <p:tavLst>
                                        <p:tav tm="0">
                                          <p:val>
                                            <p:strVal val="ppt_h"/>
                                          </p:val>
                                        </p:tav>
                                        <p:tav tm="100000">
                                          <p:val>
                                            <p:fltVal val="0"/>
                                          </p:val>
                                        </p:tav>
                                      </p:tavLst>
                                    </p:anim>
                                    <p:animEffect transition="out" filter="fade">
                                      <p:cBhvr>
                                        <p:cTn id="14" dur="500"/>
                                        <p:tgtEl>
                                          <p:spTgt spid="8203"/>
                                        </p:tgtEl>
                                      </p:cBhvr>
                                    </p:animEffect>
                                    <p:set>
                                      <p:cBhvr>
                                        <p:cTn id="15" dur="1" fill="hold">
                                          <p:stCondLst>
                                            <p:cond delay="499"/>
                                          </p:stCondLst>
                                        </p:cTn>
                                        <p:tgtEl>
                                          <p:spTgt spid="820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8202"/>
                                        </p:tgtEl>
                                        <p:attrNameLst>
                                          <p:attrName>style.visibility</p:attrName>
                                        </p:attrNameLst>
                                      </p:cBhvr>
                                      <p:to>
                                        <p:strVal val="visible"/>
                                      </p:to>
                                    </p:set>
                                    <p:anim calcmode="lin" valueType="num">
                                      <p:cBhvr>
                                        <p:cTn id="20" dur="500" fill="hold"/>
                                        <p:tgtEl>
                                          <p:spTgt spid="8202"/>
                                        </p:tgtEl>
                                        <p:attrNameLst>
                                          <p:attrName>ppt_w</p:attrName>
                                        </p:attrNameLst>
                                      </p:cBhvr>
                                      <p:tavLst>
                                        <p:tav tm="0">
                                          <p:val>
                                            <p:fltVal val="0"/>
                                          </p:val>
                                        </p:tav>
                                        <p:tav tm="100000">
                                          <p:val>
                                            <p:strVal val="#ppt_w"/>
                                          </p:val>
                                        </p:tav>
                                      </p:tavLst>
                                    </p:anim>
                                    <p:anim calcmode="lin" valueType="num">
                                      <p:cBhvr>
                                        <p:cTn id="21" dur="500" fill="hold"/>
                                        <p:tgtEl>
                                          <p:spTgt spid="8202"/>
                                        </p:tgtEl>
                                        <p:attrNameLst>
                                          <p:attrName>ppt_h</p:attrName>
                                        </p:attrNameLst>
                                      </p:cBhvr>
                                      <p:tavLst>
                                        <p:tav tm="0">
                                          <p:val>
                                            <p:fltVal val="0"/>
                                          </p:val>
                                        </p:tav>
                                        <p:tav tm="100000">
                                          <p:val>
                                            <p:strVal val="#ppt_h"/>
                                          </p:val>
                                        </p:tav>
                                      </p:tavLst>
                                    </p:anim>
                                    <p:animEffect transition="in" filter="fade">
                                      <p:cBhvr>
                                        <p:cTn id="22" dur="500"/>
                                        <p:tgtEl>
                                          <p:spTgt spid="8202"/>
                                        </p:tgtEl>
                                      </p:cBhvr>
                                    </p:animEffect>
                                  </p:childTnLst>
                                </p:cTn>
                              </p:par>
                            </p:childTnLst>
                          </p:cTn>
                        </p:par>
                        <p:par>
                          <p:cTn id="23" fill="hold">
                            <p:stCondLst>
                              <p:cond delay="500"/>
                            </p:stCondLst>
                            <p:childTnLst>
                              <p:par>
                                <p:cTn id="24" presetID="53" presetClass="exit" presetSubtype="32" fill="hold" nodeType="afterEffect">
                                  <p:stCondLst>
                                    <p:cond delay="2000"/>
                                  </p:stCondLst>
                                  <p:childTnLst>
                                    <p:anim calcmode="lin" valueType="num">
                                      <p:cBhvr>
                                        <p:cTn id="25" dur="500"/>
                                        <p:tgtEl>
                                          <p:spTgt spid="8202"/>
                                        </p:tgtEl>
                                        <p:attrNameLst>
                                          <p:attrName>ppt_w</p:attrName>
                                        </p:attrNameLst>
                                      </p:cBhvr>
                                      <p:tavLst>
                                        <p:tav tm="0">
                                          <p:val>
                                            <p:strVal val="ppt_w"/>
                                          </p:val>
                                        </p:tav>
                                        <p:tav tm="100000">
                                          <p:val>
                                            <p:fltVal val="0"/>
                                          </p:val>
                                        </p:tav>
                                      </p:tavLst>
                                    </p:anim>
                                    <p:anim calcmode="lin" valueType="num">
                                      <p:cBhvr>
                                        <p:cTn id="26" dur="500"/>
                                        <p:tgtEl>
                                          <p:spTgt spid="8202"/>
                                        </p:tgtEl>
                                        <p:attrNameLst>
                                          <p:attrName>ppt_h</p:attrName>
                                        </p:attrNameLst>
                                      </p:cBhvr>
                                      <p:tavLst>
                                        <p:tav tm="0">
                                          <p:val>
                                            <p:strVal val="ppt_h"/>
                                          </p:val>
                                        </p:tav>
                                        <p:tav tm="100000">
                                          <p:val>
                                            <p:fltVal val="0"/>
                                          </p:val>
                                        </p:tav>
                                      </p:tavLst>
                                    </p:anim>
                                    <p:animEffect transition="out" filter="fade">
                                      <p:cBhvr>
                                        <p:cTn id="27" dur="500"/>
                                        <p:tgtEl>
                                          <p:spTgt spid="8202"/>
                                        </p:tgtEl>
                                      </p:cBhvr>
                                    </p:animEffect>
                                    <p:set>
                                      <p:cBhvr>
                                        <p:cTn id="28" dur="1" fill="hold">
                                          <p:stCondLst>
                                            <p:cond delay="499"/>
                                          </p:stCondLst>
                                        </p:cTn>
                                        <p:tgtEl>
                                          <p:spTgt spid="8202"/>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8204"/>
                                        </p:tgtEl>
                                        <p:attrNameLst>
                                          <p:attrName>style.visibility</p:attrName>
                                        </p:attrNameLst>
                                      </p:cBhvr>
                                      <p:to>
                                        <p:strVal val="visible"/>
                                      </p:to>
                                    </p:set>
                                    <p:anim calcmode="lin" valueType="num">
                                      <p:cBhvr>
                                        <p:cTn id="33" dur="500" fill="hold"/>
                                        <p:tgtEl>
                                          <p:spTgt spid="8204"/>
                                        </p:tgtEl>
                                        <p:attrNameLst>
                                          <p:attrName>ppt_w</p:attrName>
                                        </p:attrNameLst>
                                      </p:cBhvr>
                                      <p:tavLst>
                                        <p:tav tm="0">
                                          <p:val>
                                            <p:fltVal val="0"/>
                                          </p:val>
                                        </p:tav>
                                        <p:tav tm="100000">
                                          <p:val>
                                            <p:strVal val="#ppt_w"/>
                                          </p:val>
                                        </p:tav>
                                      </p:tavLst>
                                    </p:anim>
                                    <p:anim calcmode="lin" valueType="num">
                                      <p:cBhvr>
                                        <p:cTn id="34" dur="500" fill="hold"/>
                                        <p:tgtEl>
                                          <p:spTgt spid="8204"/>
                                        </p:tgtEl>
                                        <p:attrNameLst>
                                          <p:attrName>ppt_h</p:attrName>
                                        </p:attrNameLst>
                                      </p:cBhvr>
                                      <p:tavLst>
                                        <p:tav tm="0">
                                          <p:val>
                                            <p:fltVal val="0"/>
                                          </p:val>
                                        </p:tav>
                                        <p:tav tm="100000">
                                          <p:val>
                                            <p:strVal val="#ppt_h"/>
                                          </p:val>
                                        </p:tav>
                                      </p:tavLst>
                                    </p:anim>
                                    <p:animEffect transition="in" filter="fade">
                                      <p:cBhvr>
                                        <p:cTn id="35" dur="500"/>
                                        <p:tgtEl>
                                          <p:spTgt spid="8204"/>
                                        </p:tgtEl>
                                      </p:cBhvr>
                                    </p:animEffect>
                                  </p:childTnLst>
                                </p:cTn>
                              </p:par>
                            </p:childTnLst>
                          </p:cTn>
                        </p:par>
                        <p:par>
                          <p:cTn id="36" fill="hold">
                            <p:stCondLst>
                              <p:cond delay="500"/>
                            </p:stCondLst>
                            <p:childTnLst>
                              <p:par>
                                <p:cTn id="37" presetID="53" presetClass="exit" presetSubtype="32" fill="hold" nodeType="afterEffect">
                                  <p:stCondLst>
                                    <p:cond delay="2000"/>
                                  </p:stCondLst>
                                  <p:childTnLst>
                                    <p:anim calcmode="lin" valueType="num">
                                      <p:cBhvr>
                                        <p:cTn id="38" dur="500"/>
                                        <p:tgtEl>
                                          <p:spTgt spid="8204"/>
                                        </p:tgtEl>
                                        <p:attrNameLst>
                                          <p:attrName>ppt_w</p:attrName>
                                        </p:attrNameLst>
                                      </p:cBhvr>
                                      <p:tavLst>
                                        <p:tav tm="0">
                                          <p:val>
                                            <p:strVal val="ppt_w"/>
                                          </p:val>
                                        </p:tav>
                                        <p:tav tm="100000">
                                          <p:val>
                                            <p:fltVal val="0"/>
                                          </p:val>
                                        </p:tav>
                                      </p:tavLst>
                                    </p:anim>
                                    <p:anim calcmode="lin" valueType="num">
                                      <p:cBhvr>
                                        <p:cTn id="39" dur="500"/>
                                        <p:tgtEl>
                                          <p:spTgt spid="8204"/>
                                        </p:tgtEl>
                                        <p:attrNameLst>
                                          <p:attrName>ppt_h</p:attrName>
                                        </p:attrNameLst>
                                      </p:cBhvr>
                                      <p:tavLst>
                                        <p:tav tm="0">
                                          <p:val>
                                            <p:strVal val="ppt_h"/>
                                          </p:val>
                                        </p:tav>
                                        <p:tav tm="100000">
                                          <p:val>
                                            <p:fltVal val="0"/>
                                          </p:val>
                                        </p:tav>
                                      </p:tavLst>
                                    </p:anim>
                                    <p:animEffect transition="out" filter="fade">
                                      <p:cBhvr>
                                        <p:cTn id="40" dur="500"/>
                                        <p:tgtEl>
                                          <p:spTgt spid="8204"/>
                                        </p:tgtEl>
                                      </p:cBhvr>
                                    </p:animEffect>
                                    <p:set>
                                      <p:cBhvr>
                                        <p:cTn id="41" dur="1" fill="hold">
                                          <p:stCondLst>
                                            <p:cond delay="499"/>
                                          </p:stCondLst>
                                        </p:cTn>
                                        <p:tgtEl>
                                          <p:spTgt spid="8204"/>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419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AD16C-18CA-4D71-9EB5-5C0909A66579}"/>
              </a:ext>
            </a:extLst>
          </p:cNvPr>
          <p:cNvSpPr>
            <a:spLocks noGrp="1"/>
          </p:cNvSpPr>
          <p:nvPr>
            <p:ph type="title"/>
          </p:nvPr>
        </p:nvSpPr>
        <p:spPr/>
        <p:txBody>
          <a:bodyPr/>
          <a:lstStyle/>
          <a:p>
            <a:r>
              <a:rPr lang="en-GB" dirty="0" err="1"/>
              <a:t>Aantallen</a:t>
            </a:r>
            <a:endParaRPr lang="nl-NL" dirty="0"/>
          </a:p>
        </p:txBody>
      </p:sp>
      <p:sp>
        <p:nvSpPr>
          <p:cNvPr id="3" name="Content Placeholder 2">
            <a:extLst>
              <a:ext uri="{FF2B5EF4-FFF2-40B4-BE49-F238E27FC236}">
                <a16:creationId xmlns:a16="http://schemas.microsoft.com/office/drawing/2014/main" id="{EC537BF6-AE0A-4C49-B5EB-E7DF1FA307B8}"/>
              </a:ext>
            </a:extLst>
          </p:cNvPr>
          <p:cNvSpPr>
            <a:spLocks noGrp="1"/>
          </p:cNvSpPr>
          <p:nvPr>
            <p:ph idx="1"/>
          </p:nvPr>
        </p:nvSpPr>
        <p:spPr/>
        <p:txBody>
          <a:bodyPr/>
          <a:lstStyle/>
          <a:p>
            <a:r>
              <a:rPr lang="en-GB" dirty="0"/>
              <a:t>CBS: 15% van de </a:t>
            </a:r>
            <a:r>
              <a:rPr lang="en-GB" dirty="0" err="1"/>
              <a:t>beroepsbevolking</a:t>
            </a:r>
            <a:r>
              <a:rPr lang="en-GB" dirty="0"/>
              <a:t> </a:t>
            </a:r>
            <a:r>
              <a:rPr lang="en-GB" dirty="0" err="1"/>
              <a:t>werkt</a:t>
            </a:r>
            <a:r>
              <a:rPr lang="en-GB" dirty="0"/>
              <a:t> </a:t>
            </a:r>
            <a:r>
              <a:rPr lang="en-GB" dirty="0" err="1"/>
              <a:t>gedurende</a:t>
            </a:r>
            <a:r>
              <a:rPr lang="en-GB" dirty="0"/>
              <a:t> de </a:t>
            </a:r>
            <a:r>
              <a:rPr lang="en-GB" dirty="0" err="1"/>
              <a:t>nacht</a:t>
            </a:r>
            <a:r>
              <a:rPr lang="en-GB" dirty="0"/>
              <a:t> </a:t>
            </a:r>
          </a:p>
          <a:p>
            <a:pPr lvl="1"/>
            <a:r>
              <a:rPr lang="en-GB" dirty="0"/>
              <a:t>8% </a:t>
            </a:r>
            <a:r>
              <a:rPr lang="en-GB" dirty="0" err="1"/>
              <a:t>regelmatig</a:t>
            </a:r>
            <a:endParaRPr lang="en-GB" dirty="0"/>
          </a:p>
          <a:p>
            <a:pPr lvl="1"/>
            <a:r>
              <a:rPr lang="en-GB" dirty="0" err="1"/>
              <a:t>Komt</a:t>
            </a:r>
            <a:r>
              <a:rPr lang="en-GB" dirty="0"/>
              <a:t> </a:t>
            </a:r>
            <a:r>
              <a:rPr lang="en-GB" dirty="0" err="1"/>
              <a:t>neer</a:t>
            </a:r>
            <a:r>
              <a:rPr lang="en-GB" dirty="0"/>
              <a:t> op ±1.3 </a:t>
            </a:r>
            <a:r>
              <a:rPr lang="en-GB" dirty="0" err="1"/>
              <a:t>miljoen</a:t>
            </a:r>
            <a:r>
              <a:rPr lang="en-GB" dirty="0"/>
              <a:t> </a:t>
            </a:r>
            <a:r>
              <a:rPr lang="en-GB" dirty="0" err="1"/>
              <a:t>werknemers</a:t>
            </a:r>
            <a:endParaRPr lang="en-GB" dirty="0"/>
          </a:p>
          <a:p>
            <a:r>
              <a:rPr lang="nl-NL" dirty="0"/>
              <a:t>Ongeveer 50% </a:t>
            </a:r>
            <a:r>
              <a:rPr lang="en-GB" dirty="0" err="1"/>
              <a:t>beroepsbevolking</a:t>
            </a:r>
            <a:r>
              <a:rPr lang="en-GB" dirty="0"/>
              <a:t> </a:t>
            </a:r>
            <a:r>
              <a:rPr lang="nl-NL" dirty="0"/>
              <a:t>werkt buiten 9-17 kantoortijden</a:t>
            </a:r>
          </a:p>
          <a:p>
            <a:endParaRPr lang="nl-NL" dirty="0"/>
          </a:p>
          <a:p>
            <a:r>
              <a:rPr lang="nl-NL" dirty="0"/>
              <a:t>Grote verschillen tussen sectoren</a:t>
            </a:r>
          </a:p>
          <a:p>
            <a:pPr lvl="1"/>
            <a:r>
              <a:rPr lang="nl-NL" dirty="0"/>
              <a:t>Zorg koploper: ±280.000 </a:t>
            </a:r>
            <a:r>
              <a:rPr lang="nl-NL" dirty="0" err="1"/>
              <a:t>wn</a:t>
            </a:r>
            <a:endParaRPr lang="nl-NL" dirty="0"/>
          </a:p>
          <a:p>
            <a:r>
              <a:rPr lang="nl-NL" dirty="0"/>
              <a:t>Maar ook binnen sectoren</a:t>
            </a:r>
          </a:p>
          <a:p>
            <a:pPr lvl="1"/>
            <a:r>
              <a:rPr lang="nl-NL" dirty="0"/>
              <a:t>Luchtvaart (vervoer): 61%</a:t>
            </a:r>
          </a:p>
          <a:p>
            <a:pPr marL="0" indent="0">
              <a:buNone/>
            </a:pPr>
            <a:endParaRPr lang="nl-NL" dirty="0"/>
          </a:p>
          <a:p>
            <a:endParaRPr lang="nl-NL" dirty="0"/>
          </a:p>
          <a:p>
            <a:endParaRPr lang="nl-NL" dirty="0"/>
          </a:p>
        </p:txBody>
      </p:sp>
      <p:sp>
        <p:nvSpPr>
          <p:cNvPr id="4" name="Footer Placeholder 3">
            <a:extLst>
              <a:ext uri="{FF2B5EF4-FFF2-40B4-BE49-F238E27FC236}">
                <a16:creationId xmlns:a16="http://schemas.microsoft.com/office/drawing/2014/main" id="{5B50ADB3-A2F1-4E7B-B1AD-1784F7E108C0}"/>
              </a:ext>
            </a:extLst>
          </p:cNvPr>
          <p:cNvSpPr>
            <a:spLocks noGrp="1"/>
          </p:cNvSpPr>
          <p:nvPr>
            <p:ph type="ftr" sz="quarter" idx="11"/>
          </p:nvPr>
        </p:nvSpPr>
        <p:spPr/>
        <p:txBody>
          <a:bodyPr/>
          <a:lstStyle/>
          <a:p>
            <a:r>
              <a:rPr lang="nl-NL">
                <a:solidFill>
                  <a:srgbClr val="004D7D"/>
                </a:solidFill>
              </a:rPr>
              <a:t>Onregelmatig Werk en Gezondheid: "Lessen" uit de Luchtvaartsector</a:t>
            </a:r>
            <a:endParaRPr lang="nl-NL" dirty="0">
              <a:solidFill>
                <a:srgbClr val="004D7D"/>
              </a:solidFill>
            </a:endParaRPr>
          </a:p>
        </p:txBody>
      </p:sp>
      <p:pic>
        <p:nvPicPr>
          <p:cNvPr id="18" name="Picture 17">
            <a:extLst>
              <a:ext uri="{FF2B5EF4-FFF2-40B4-BE49-F238E27FC236}">
                <a16:creationId xmlns:a16="http://schemas.microsoft.com/office/drawing/2014/main" id="{A6DF8F59-BE54-F69E-45AA-6BE7BC2084CB}"/>
              </a:ext>
            </a:extLst>
          </p:cNvPr>
          <p:cNvPicPr>
            <a:picLocks noChangeAspect="1"/>
          </p:cNvPicPr>
          <p:nvPr/>
        </p:nvPicPr>
        <p:blipFill>
          <a:blip r:embed="rId3"/>
          <a:stretch>
            <a:fillRect/>
          </a:stretch>
        </p:blipFill>
        <p:spPr>
          <a:xfrm>
            <a:off x="4855591" y="2428876"/>
            <a:ext cx="4229124" cy="2669066"/>
          </a:xfrm>
          <a:prstGeom prst="rect">
            <a:avLst/>
          </a:prstGeom>
        </p:spPr>
      </p:pic>
      <p:pic>
        <p:nvPicPr>
          <p:cNvPr id="19" name="Picture 4">
            <a:extLst>
              <a:ext uri="{FF2B5EF4-FFF2-40B4-BE49-F238E27FC236}">
                <a16:creationId xmlns:a16="http://schemas.microsoft.com/office/drawing/2014/main" id="{24E03A8B-96F5-4C42-F346-D4E0FD3D54A4}"/>
              </a:ext>
            </a:extLst>
          </p:cNvPr>
          <p:cNvPicPr>
            <a:picLocks noChangeAspect="1" noChangeArrowheads="1"/>
          </p:cNvPicPr>
          <p:nvPr/>
        </p:nvPicPr>
        <p:blipFill>
          <a:blip r:embed="rId4"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8106502" y="45559"/>
            <a:ext cx="978212" cy="984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2643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BF5F71E5-DD8D-48B6-B104-658F6A49F273}"/>
              </a:ext>
            </a:extLst>
          </p:cNvPr>
          <p:cNvSpPr>
            <a:spLocks noGrp="1"/>
          </p:cNvSpPr>
          <p:nvPr>
            <p:ph type="ftr" sz="quarter" idx="11"/>
          </p:nvPr>
        </p:nvSpPr>
        <p:spPr/>
        <p:txBody>
          <a:bodyPr/>
          <a:lstStyle/>
          <a:p>
            <a:r>
              <a:rPr lang="nl-NL"/>
              <a:t>Onregelmatig Werk en Gezondheid: "Lessen" uit de Luchtvaartsector</a:t>
            </a:r>
            <a:endParaRPr lang="nl-NL" dirty="0"/>
          </a:p>
        </p:txBody>
      </p:sp>
      <p:sp>
        <p:nvSpPr>
          <p:cNvPr id="7" name="Content Placeholder 6">
            <a:extLst>
              <a:ext uri="{FF2B5EF4-FFF2-40B4-BE49-F238E27FC236}">
                <a16:creationId xmlns:a16="http://schemas.microsoft.com/office/drawing/2014/main" id="{AD0AAD87-D90F-E698-FF1D-1ADD48D1F034}"/>
              </a:ext>
            </a:extLst>
          </p:cNvPr>
          <p:cNvSpPr>
            <a:spLocks noGrp="1"/>
          </p:cNvSpPr>
          <p:nvPr>
            <p:ph idx="1"/>
          </p:nvPr>
        </p:nvSpPr>
        <p:spPr/>
        <p:txBody>
          <a:bodyPr/>
          <a:lstStyle/>
          <a:p>
            <a:endParaRPr lang="nl-NL"/>
          </a:p>
        </p:txBody>
      </p:sp>
      <p:sp>
        <p:nvSpPr>
          <p:cNvPr id="2" name="Title 1">
            <a:extLst>
              <a:ext uri="{FF2B5EF4-FFF2-40B4-BE49-F238E27FC236}">
                <a16:creationId xmlns:a16="http://schemas.microsoft.com/office/drawing/2014/main" id="{4DA6C095-C611-FD1D-D30D-436DDACC2380}"/>
              </a:ext>
            </a:extLst>
          </p:cNvPr>
          <p:cNvSpPr>
            <a:spLocks noGrp="1"/>
          </p:cNvSpPr>
          <p:nvPr>
            <p:ph type="title"/>
          </p:nvPr>
        </p:nvSpPr>
        <p:spPr/>
        <p:txBody>
          <a:bodyPr/>
          <a:lstStyle/>
          <a:p>
            <a:r>
              <a:rPr lang="en-GB" dirty="0" err="1"/>
              <a:t>Nachtwerk</a:t>
            </a:r>
            <a:r>
              <a:rPr lang="en-GB" dirty="0"/>
              <a:t> </a:t>
            </a:r>
            <a:r>
              <a:rPr lang="en-GB" dirty="0" err="1"/>
              <a:t>naar</a:t>
            </a:r>
            <a:r>
              <a:rPr lang="en-GB" dirty="0"/>
              <a:t> </a:t>
            </a:r>
            <a:r>
              <a:rPr lang="en-GB" dirty="0" err="1"/>
              <a:t>leeftijd</a:t>
            </a:r>
            <a:endParaRPr lang="nl-NL" dirty="0"/>
          </a:p>
        </p:txBody>
      </p:sp>
      <p:pic>
        <p:nvPicPr>
          <p:cNvPr id="9" name="Picture 8">
            <a:extLst>
              <a:ext uri="{FF2B5EF4-FFF2-40B4-BE49-F238E27FC236}">
                <a16:creationId xmlns:a16="http://schemas.microsoft.com/office/drawing/2014/main" id="{A3DA85DD-7FDB-37ED-E9D2-A5356F503FD1}"/>
              </a:ext>
            </a:extLst>
          </p:cNvPr>
          <p:cNvPicPr>
            <a:picLocks noChangeAspect="1"/>
          </p:cNvPicPr>
          <p:nvPr/>
        </p:nvPicPr>
        <p:blipFill>
          <a:blip r:embed="rId3"/>
          <a:stretch>
            <a:fillRect/>
          </a:stretch>
        </p:blipFill>
        <p:spPr>
          <a:xfrm>
            <a:off x="792163" y="1030411"/>
            <a:ext cx="6301908" cy="3883217"/>
          </a:xfrm>
          <a:prstGeom prst="rect">
            <a:avLst/>
          </a:prstGeom>
        </p:spPr>
      </p:pic>
      <p:sp>
        <p:nvSpPr>
          <p:cNvPr id="11" name="Rectangle 10">
            <a:extLst>
              <a:ext uri="{FF2B5EF4-FFF2-40B4-BE49-F238E27FC236}">
                <a16:creationId xmlns:a16="http://schemas.microsoft.com/office/drawing/2014/main" id="{5ACE7952-1D8A-A77B-EBE5-B804ED28C016}"/>
              </a:ext>
            </a:extLst>
          </p:cNvPr>
          <p:cNvSpPr/>
          <p:nvPr/>
        </p:nvSpPr>
        <p:spPr>
          <a:xfrm>
            <a:off x="792163" y="4727388"/>
            <a:ext cx="558519" cy="186240"/>
          </a:xfrm>
          <a:prstGeom prst="rect">
            <a:avLst/>
          </a:prstGeom>
          <a:solidFill>
            <a:srgbClr val="FFFFFF"/>
          </a:solidFill>
          <a:ln>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Tree>
    <p:extLst>
      <p:ext uri="{BB962C8B-B14F-4D97-AF65-F5344CB8AC3E}">
        <p14:creationId xmlns:p14="http://schemas.microsoft.com/office/powerpoint/2010/main" val="167844359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E67FA6-093D-3EB2-B4F6-CACBC5EAD612}"/>
              </a:ext>
            </a:extLst>
          </p:cNvPr>
          <p:cNvPicPr>
            <a:picLocks noChangeAspect="1"/>
          </p:cNvPicPr>
          <p:nvPr/>
        </p:nvPicPr>
        <p:blipFill>
          <a:blip r:embed="rId2"/>
          <a:stretch>
            <a:fillRect/>
          </a:stretch>
        </p:blipFill>
        <p:spPr>
          <a:xfrm>
            <a:off x="745611" y="988156"/>
            <a:ext cx="7149307" cy="3924808"/>
          </a:xfrm>
          <a:prstGeom prst="rect">
            <a:avLst/>
          </a:prstGeom>
        </p:spPr>
      </p:pic>
      <p:sp>
        <p:nvSpPr>
          <p:cNvPr id="2" name="Footer Placeholder 1">
            <a:extLst>
              <a:ext uri="{FF2B5EF4-FFF2-40B4-BE49-F238E27FC236}">
                <a16:creationId xmlns:a16="http://schemas.microsoft.com/office/drawing/2014/main" id="{C767916A-1681-BB10-D878-217C23ED71EF}"/>
              </a:ext>
            </a:extLst>
          </p:cNvPr>
          <p:cNvSpPr>
            <a:spLocks noGrp="1"/>
          </p:cNvSpPr>
          <p:nvPr>
            <p:ph type="ftr" sz="quarter" idx="11"/>
          </p:nvPr>
        </p:nvSpPr>
        <p:spPr/>
        <p:txBody>
          <a:bodyPr/>
          <a:lstStyle/>
          <a:p>
            <a:r>
              <a:rPr lang="nl-NL" noProof="0">
                <a:solidFill>
                  <a:srgbClr val="004D7D"/>
                </a:solidFill>
              </a:rPr>
              <a:t>Onregelmatig Werk en Gezondheid: "Lessen" uit de Luchtvaartsector</a:t>
            </a:r>
            <a:endParaRPr lang="en-GB" noProof="0" dirty="0">
              <a:solidFill>
                <a:srgbClr val="004D7D"/>
              </a:solidFill>
            </a:endParaRPr>
          </a:p>
        </p:txBody>
      </p:sp>
      <p:sp>
        <p:nvSpPr>
          <p:cNvPr id="4" name="Title 3">
            <a:extLst>
              <a:ext uri="{FF2B5EF4-FFF2-40B4-BE49-F238E27FC236}">
                <a16:creationId xmlns:a16="http://schemas.microsoft.com/office/drawing/2014/main" id="{662DD145-C67A-C1C3-0FA7-6B530D8C88BE}"/>
              </a:ext>
            </a:extLst>
          </p:cNvPr>
          <p:cNvSpPr>
            <a:spLocks noGrp="1"/>
          </p:cNvSpPr>
          <p:nvPr>
            <p:ph type="title"/>
          </p:nvPr>
        </p:nvSpPr>
        <p:spPr/>
        <p:txBody>
          <a:bodyPr/>
          <a:lstStyle/>
          <a:p>
            <a:r>
              <a:rPr lang="en-GB" dirty="0" err="1"/>
              <a:t>Nachtwerk</a:t>
            </a:r>
            <a:r>
              <a:rPr lang="en-GB" dirty="0"/>
              <a:t> </a:t>
            </a:r>
            <a:r>
              <a:rPr lang="en-GB" dirty="0" err="1"/>
              <a:t>naar</a:t>
            </a:r>
            <a:r>
              <a:rPr lang="en-GB" dirty="0"/>
              <a:t> </a:t>
            </a:r>
            <a:r>
              <a:rPr lang="en-GB" dirty="0" err="1"/>
              <a:t>leeftijd</a:t>
            </a:r>
            <a:endParaRPr lang="nl-NL" dirty="0"/>
          </a:p>
        </p:txBody>
      </p:sp>
    </p:spTree>
    <p:extLst>
      <p:ext uri="{BB962C8B-B14F-4D97-AF65-F5344CB8AC3E}">
        <p14:creationId xmlns:p14="http://schemas.microsoft.com/office/powerpoint/2010/main" val="117990478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647A68D-A760-7586-1AC7-8488DEF6049F}"/>
              </a:ext>
            </a:extLst>
          </p:cNvPr>
          <p:cNvGrpSpPr/>
          <p:nvPr/>
        </p:nvGrpSpPr>
        <p:grpSpPr>
          <a:xfrm>
            <a:off x="792163" y="1030411"/>
            <a:ext cx="7007130" cy="3922879"/>
            <a:chOff x="792163" y="1030411"/>
            <a:chExt cx="7007130" cy="3922879"/>
          </a:xfrm>
        </p:grpSpPr>
        <p:pic>
          <p:nvPicPr>
            <p:cNvPr id="4" name="Picture 3">
              <a:extLst>
                <a:ext uri="{FF2B5EF4-FFF2-40B4-BE49-F238E27FC236}">
                  <a16:creationId xmlns:a16="http://schemas.microsoft.com/office/drawing/2014/main" id="{B744F013-3997-149A-C26E-36FB854BA3DD}"/>
                </a:ext>
              </a:extLst>
            </p:cNvPr>
            <p:cNvPicPr>
              <a:picLocks noChangeAspect="1"/>
            </p:cNvPicPr>
            <p:nvPr/>
          </p:nvPicPr>
          <p:blipFill>
            <a:blip r:embed="rId3"/>
            <a:stretch>
              <a:fillRect/>
            </a:stretch>
          </p:blipFill>
          <p:spPr>
            <a:xfrm>
              <a:off x="792163" y="1030411"/>
              <a:ext cx="6660496" cy="3922879"/>
            </a:xfrm>
            <a:prstGeom prst="rect">
              <a:avLst/>
            </a:prstGeom>
          </p:spPr>
        </p:pic>
        <p:sp>
          <p:nvSpPr>
            <p:cNvPr id="6" name="Rectangle 5">
              <a:extLst>
                <a:ext uri="{FF2B5EF4-FFF2-40B4-BE49-F238E27FC236}">
                  <a16:creationId xmlns:a16="http://schemas.microsoft.com/office/drawing/2014/main" id="{E9873427-24A9-AA1E-16CB-C08B62DFE7EA}"/>
                </a:ext>
              </a:extLst>
            </p:cNvPr>
            <p:cNvSpPr/>
            <p:nvPr/>
          </p:nvSpPr>
          <p:spPr>
            <a:xfrm>
              <a:off x="792163" y="4592098"/>
              <a:ext cx="558519" cy="361192"/>
            </a:xfrm>
            <a:prstGeom prst="rect">
              <a:avLst/>
            </a:prstGeom>
            <a:solidFill>
              <a:srgbClr val="FFFFFF"/>
            </a:solidFill>
            <a:ln>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8" name="Rectangle 7">
              <a:extLst>
                <a:ext uri="{FF2B5EF4-FFF2-40B4-BE49-F238E27FC236}">
                  <a16:creationId xmlns:a16="http://schemas.microsoft.com/office/drawing/2014/main" id="{0733A0A3-4A35-B2B9-C577-5A135F04B4AC}"/>
                </a:ext>
              </a:extLst>
            </p:cNvPr>
            <p:cNvSpPr/>
            <p:nvPr/>
          </p:nvSpPr>
          <p:spPr>
            <a:xfrm>
              <a:off x="7240774" y="4586326"/>
              <a:ext cx="558519" cy="186240"/>
            </a:xfrm>
            <a:prstGeom prst="rect">
              <a:avLst/>
            </a:prstGeom>
            <a:solidFill>
              <a:srgbClr val="FFFFFF"/>
            </a:solidFill>
            <a:ln>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5" name="Tijdelijke aanduiding voor voettekst 4">
            <a:extLst>
              <a:ext uri="{FF2B5EF4-FFF2-40B4-BE49-F238E27FC236}">
                <a16:creationId xmlns:a16="http://schemas.microsoft.com/office/drawing/2014/main" id="{BF5F71E5-DD8D-48B6-B104-658F6A49F273}"/>
              </a:ext>
            </a:extLst>
          </p:cNvPr>
          <p:cNvSpPr>
            <a:spLocks noGrp="1"/>
          </p:cNvSpPr>
          <p:nvPr>
            <p:ph type="ftr" sz="quarter" idx="11"/>
          </p:nvPr>
        </p:nvSpPr>
        <p:spPr/>
        <p:txBody>
          <a:bodyPr/>
          <a:lstStyle/>
          <a:p>
            <a:r>
              <a:rPr lang="nl-NL"/>
              <a:t>Onregelmatig Werk en Gezondheid: "Lessen" uit de Luchtvaartsector</a:t>
            </a:r>
            <a:endParaRPr lang="nl-NL" dirty="0"/>
          </a:p>
        </p:txBody>
      </p:sp>
      <p:sp>
        <p:nvSpPr>
          <p:cNvPr id="2" name="Title 1">
            <a:extLst>
              <a:ext uri="{FF2B5EF4-FFF2-40B4-BE49-F238E27FC236}">
                <a16:creationId xmlns:a16="http://schemas.microsoft.com/office/drawing/2014/main" id="{4DA6C095-C611-FD1D-D30D-436DDACC2380}"/>
              </a:ext>
            </a:extLst>
          </p:cNvPr>
          <p:cNvSpPr>
            <a:spLocks noGrp="1"/>
          </p:cNvSpPr>
          <p:nvPr>
            <p:ph type="title"/>
          </p:nvPr>
        </p:nvSpPr>
        <p:spPr/>
        <p:txBody>
          <a:bodyPr/>
          <a:lstStyle/>
          <a:p>
            <a:r>
              <a:rPr lang="en-GB" dirty="0" err="1"/>
              <a:t>Nachtwerk</a:t>
            </a:r>
            <a:r>
              <a:rPr lang="en-GB" dirty="0"/>
              <a:t> </a:t>
            </a:r>
            <a:r>
              <a:rPr lang="en-GB" dirty="0" err="1"/>
              <a:t>naar</a:t>
            </a:r>
            <a:r>
              <a:rPr lang="en-GB" dirty="0"/>
              <a:t> </a:t>
            </a:r>
            <a:r>
              <a:rPr lang="en-GB" dirty="0" err="1"/>
              <a:t>leeftijd</a:t>
            </a:r>
            <a:endParaRPr lang="nl-NL" dirty="0"/>
          </a:p>
        </p:txBody>
      </p:sp>
    </p:spTree>
    <p:extLst>
      <p:ext uri="{BB962C8B-B14F-4D97-AF65-F5344CB8AC3E}">
        <p14:creationId xmlns:p14="http://schemas.microsoft.com/office/powerpoint/2010/main" val="374033330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LR Algemene Template 16.9 UK_Royal 2019 en 100jr strik_v03">
  <a:themeElements>
    <a:clrScheme name="Custom 167">
      <a:dk1>
        <a:sysClr val="windowText" lastClr="000000"/>
      </a:dk1>
      <a:lt1>
        <a:sysClr val="window" lastClr="FFFFFF"/>
      </a:lt1>
      <a:dk2>
        <a:srgbClr val="004D7D"/>
      </a:dk2>
      <a:lt2>
        <a:srgbClr val="9B9C9E"/>
      </a:lt2>
      <a:accent1>
        <a:srgbClr val="19AEE9"/>
      </a:accent1>
      <a:accent2>
        <a:srgbClr val="94CEEC"/>
      </a:accent2>
      <a:accent3>
        <a:srgbClr val="D8ECF8"/>
      </a:accent3>
      <a:accent4>
        <a:srgbClr val="ED791A"/>
      </a:accent4>
      <a:accent5>
        <a:srgbClr val="F8B985"/>
      </a:accent5>
      <a:accent6>
        <a:srgbClr val="FDE5CF"/>
      </a:accent6>
      <a:hlink>
        <a:srgbClr val="0000FF"/>
      </a:hlink>
      <a:folHlink>
        <a:srgbClr val="800080"/>
      </a:folHlink>
    </a:clrScheme>
    <a:fontScheme name="Custom 5">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tx2"/>
            </a:solidFill>
          </a:defRPr>
        </a:defPPr>
      </a:lstStyle>
    </a:txDef>
  </a:objectDefaults>
  <a:extraClrSchemeLst/>
  <a:extLst>
    <a:ext uri="{05A4C25C-085E-4340-85A3-A5531E510DB2}">
      <thm15:themeFamily xmlns:thm15="http://schemas.microsoft.com/office/thememl/2012/main" name="Presentation1" id="{677C72C1-58BA-4825-9C26-E00DF100C494}" vid="{E7C75DB0-B082-40E8-8E37-69147616FC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LR Algemene Template NL V001</Template>
  <TotalTime>1591</TotalTime>
  <Words>4045</Words>
  <Application>Microsoft Office PowerPoint</Application>
  <PresentationFormat>On-screen Show (16:9)</PresentationFormat>
  <Paragraphs>446</Paragraphs>
  <Slides>41</Slides>
  <Notes>3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2" baseType="lpstr">
      <vt:lpstr>Arial</vt:lpstr>
      <vt:lpstr>ArialMT</vt:lpstr>
      <vt:lpstr>Barlow</vt:lpstr>
      <vt:lpstr>Calibri</vt:lpstr>
      <vt:lpstr>Calibri (Body)</vt:lpstr>
      <vt:lpstr>Calibri Light</vt:lpstr>
      <vt:lpstr>Courier New</vt:lpstr>
      <vt:lpstr>Open Sans</vt:lpstr>
      <vt:lpstr>Wingdings</vt:lpstr>
      <vt:lpstr>NLR Algemene Template 16.9 UK_Royal 2019 en 100jr strik_v03</vt:lpstr>
      <vt:lpstr>think-cell Slide</vt:lpstr>
      <vt:lpstr>Alwin van Drongelen | VG dagen | 07-11-2025</vt:lpstr>
      <vt:lpstr>PowerPoint Presentation</vt:lpstr>
      <vt:lpstr>Vandaag</vt:lpstr>
      <vt:lpstr>1. Impact onregelmatige werktijden </vt:lpstr>
      <vt:lpstr>PowerPoint Presentation</vt:lpstr>
      <vt:lpstr>Aantallen</vt:lpstr>
      <vt:lpstr>Nachtwerk naar leeftijd</vt:lpstr>
      <vt:lpstr>Nachtwerk naar leeftijd</vt:lpstr>
      <vt:lpstr>Nachtwerk naar leeftijd</vt:lpstr>
      <vt:lpstr>Gezondheidseffecten</vt:lpstr>
      <vt:lpstr>American Heart Association (2025)</vt:lpstr>
      <vt:lpstr>Oorzaken slaap &amp; bioritme</vt:lpstr>
      <vt:lpstr>Oorzaken slaap &amp; bioritme</vt:lpstr>
      <vt:lpstr>Gecombineerd: two process model of sleep</vt:lpstr>
      <vt:lpstr>PowerPoint Presentation</vt:lpstr>
      <vt:lpstr>2. Risicogroepen en mogelijkheden voor mitigatie</vt:lpstr>
      <vt:lpstr>Blootstelling als risico</vt:lpstr>
      <vt:lpstr>Niet iedereen kan er even goed tegen</vt:lpstr>
      <vt:lpstr>Invloed chronotype (plus leeftijd en geslacht)</vt:lpstr>
      <vt:lpstr>NVAB richtlijn - preventie</vt:lpstr>
      <vt:lpstr>3. Werkwijze luchtvaart</vt:lpstr>
      <vt:lpstr>Relatief grootste groep nachtwerkers</vt:lpstr>
      <vt:lpstr>Luchtvaart vooral gericht op korte termijneffecten</vt:lpstr>
      <vt:lpstr>Effecten pilot fatigue; van ‘onschuldig’ tot worst case scenario</vt:lpstr>
      <vt:lpstr>Definitie vermoeidheid (fatigue)</vt:lpstr>
      <vt:lpstr>Schema gerelateerde oorzaken van fatigue in de luchtvaart </vt:lpstr>
      <vt:lpstr>Verschillende studies gericht op werktijden</vt:lpstr>
      <vt:lpstr>EASA Flight Time Limitations study</vt:lpstr>
      <vt:lpstr>Tijdlijn en uitkomsten </vt:lpstr>
      <vt:lpstr>EASA ATCO fatigue study (2023-24)</vt:lpstr>
      <vt:lpstr>Top 5 factoren die bijdragen aan vermoeidheid</vt:lpstr>
      <vt:lpstr>Beleid is gestoeld op Fatigue Risk Management (FRMS)</vt:lpstr>
      <vt:lpstr>Beleid is gestoeld op Fatigue Risk Management (FRMS)</vt:lpstr>
      <vt:lpstr>Maar is wel nodig - vliegend personeel </vt:lpstr>
      <vt:lpstr>Onderzoek / maatregelen</vt:lpstr>
      <vt:lpstr>4. Toekomstige activiteiten luchtvaart</vt:lpstr>
      <vt:lpstr>Veranderingen en trends</vt:lpstr>
      <vt:lpstr>Uitdagingen</vt:lpstr>
      <vt:lpstr>Push &amp; Pull</vt:lpstr>
      <vt:lpstr>Bedankt voor uw aandacht!</vt:lpstr>
      <vt:lpstr>PowerPoint Presentation</vt:lpstr>
    </vt:vector>
  </TitlesOfParts>
  <Company>Royal Netherlands Aerospace Cent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rongelen, Alwin van</dc:creator>
  <cp:lastModifiedBy>Drongelen, Alwin van</cp:lastModifiedBy>
  <cp:revision>14</cp:revision>
  <cp:lastPrinted>2024-12-09T08:59:41Z</cp:lastPrinted>
  <dcterms:created xsi:type="dcterms:W3CDTF">2025-11-05T19:34:46Z</dcterms:created>
  <dcterms:modified xsi:type="dcterms:W3CDTF">2025-11-07T11:43:30Z</dcterms:modified>
</cp:coreProperties>
</file>